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523" r:id="rId1"/>
    <p:sldMasterId id="2147484545" r:id="rId2"/>
    <p:sldMasterId id="2147484552" r:id="rId3"/>
    <p:sldMasterId id="2147484559" r:id="rId4"/>
  </p:sldMasterIdLst>
  <p:notesMasterIdLst>
    <p:notesMasterId r:id="rId29"/>
  </p:notesMasterIdLst>
  <p:handoutMasterIdLst>
    <p:handoutMasterId r:id="rId30"/>
  </p:handoutMasterIdLst>
  <p:sldIdLst>
    <p:sldId id="1610" r:id="rId5"/>
    <p:sldId id="1647" r:id="rId6"/>
    <p:sldId id="1609" r:id="rId7"/>
    <p:sldId id="1633" r:id="rId8"/>
    <p:sldId id="1614" r:id="rId9"/>
    <p:sldId id="1634" r:id="rId10"/>
    <p:sldId id="1632" r:id="rId11"/>
    <p:sldId id="1635" r:id="rId12"/>
    <p:sldId id="1636" r:id="rId13"/>
    <p:sldId id="1606" r:id="rId14"/>
    <p:sldId id="1607" r:id="rId15"/>
    <p:sldId id="1608" r:id="rId16"/>
    <p:sldId id="1630" r:id="rId17"/>
    <p:sldId id="1631" r:id="rId18"/>
    <p:sldId id="1637" r:id="rId19"/>
    <p:sldId id="1638" r:id="rId20"/>
    <p:sldId id="1639" r:id="rId21"/>
    <p:sldId id="1641" r:id="rId22"/>
    <p:sldId id="1642" r:id="rId23"/>
    <p:sldId id="1646" r:id="rId24"/>
    <p:sldId id="1643" r:id="rId25"/>
    <p:sldId id="1644" r:id="rId26"/>
    <p:sldId id="1645" r:id="rId27"/>
    <p:sldId id="1502" r:id="rId28"/>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ED7D31"/>
    <a:srgbClr val="5ACBF0"/>
    <a:srgbClr val="8597BE"/>
    <a:srgbClr val="0D7595"/>
    <a:srgbClr val="005AA1"/>
    <a:srgbClr val="FCB713"/>
    <a:srgbClr val="002864"/>
    <a:srgbClr val="002050"/>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102" autoAdjust="0"/>
    <p:restoredTop sz="72452" autoAdjust="0"/>
  </p:normalViewPr>
  <p:slideViewPr>
    <p:cSldViewPr snapToGrid="0">
      <p:cViewPr varScale="1">
        <p:scale>
          <a:sx n="75" d="100"/>
          <a:sy n="75" d="100"/>
        </p:scale>
        <p:origin x="1092" y="52"/>
      </p:cViewPr>
      <p:guideLst/>
    </p:cSldViewPr>
  </p:slideViewPr>
  <p:outlineViewPr>
    <p:cViewPr>
      <p:scale>
        <a:sx n="33" d="100"/>
        <a:sy n="33" d="100"/>
      </p:scale>
      <p:origin x="0" y="0"/>
    </p:cViewPr>
  </p:outlineViewPr>
  <p:notesTextViewPr>
    <p:cViewPr>
      <p:scale>
        <a:sx n="3" d="2"/>
        <a:sy n="3" d="2"/>
      </p:scale>
      <p:origin x="0" y="-2328"/>
    </p:cViewPr>
  </p:notesTextViewPr>
  <p:sorterViewPr>
    <p:cViewPr>
      <p:scale>
        <a:sx n="80" d="100"/>
        <a:sy n="80" d="100"/>
      </p:scale>
      <p:origin x="0" y="0"/>
    </p:cViewPr>
  </p:sorterViewPr>
  <p:notesViewPr>
    <p:cSldViewPr snapToGrid="0" showGuides="1">
      <p:cViewPr varScale="1">
        <p:scale>
          <a:sx n="69" d="100"/>
          <a:sy n="69" d="100"/>
        </p:scale>
        <p:origin x="3584" y="6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1_1" csCatId="accent1" phldr="1"/>
      <dgm:spPr/>
      <dgm:t>
        <a:bodyPr/>
        <a:lstStyle/>
        <a:p>
          <a:endParaRPr lang="en-US"/>
        </a:p>
      </dgm:t>
    </dgm:pt>
    <dgm:pt modelId="{0FF8BA2A-500B-413D-8B7A-0FD72A53075A}">
      <dgm:prSet phldrT="[Text]" custT="1"/>
      <dgm:spPr/>
      <dgm:t>
        <a:bodyPr/>
        <a:lstStyle/>
        <a:p>
          <a:pPr algn="ctr"/>
          <a:r>
            <a:rPr lang="en-US" sz="3200" dirty="0">
              <a:latin typeface="+mj-lt"/>
            </a:rPr>
            <a:t>Business Understanding</a:t>
          </a:r>
        </a:p>
      </dgm:t>
    </dgm:pt>
    <dgm:pt modelId="{A445CB5E-895F-4150-B184-2C8283752FC5}" type="parTrans" cxnId="{A346880C-19BB-492E-86E8-A5888A7956E2}">
      <dgm:prSet/>
      <dgm:spPr/>
      <dgm:t>
        <a:bodyPr/>
        <a:lstStyle/>
        <a:p>
          <a:endParaRPr lang="en-US" sz="2000">
            <a:solidFill>
              <a:schemeClr val="bg2"/>
            </a:solidFill>
            <a:latin typeface="+mj-lt"/>
          </a:endParaRPr>
        </a:p>
      </dgm:t>
    </dgm:pt>
    <dgm:pt modelId="{F4903262-3BB8-4A76-A3AA-54C0993BC220}" type="sibTrans" cxnId="{A346880C-19BB-492E-86E8-A5888A7956E2}">
      <dgm:prSet/>
      <dgm:spPr/>
      <dgm:t>
        <a:bodyPr/>
        <a:lstStyle/>
        <a:p>
          <a:endParaRPr lang="en-US" sz="2000">
            <a:solidFill>
              <a:schemeClr val="bg2"/>
            </a:solidFill>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sz="2000">
            <a:solidFill>
              <a:schemeClr val="bg2"/>
            </a:solidFill>
            <a:latin typeface="+mj-lt"/>
          </a:endParaRPr>
        </a:p>
      </dgm:t>
    </dgm:pt>
    <dgm:pt modelId="{C3FF912E-6EAA-40C0-8E91-AAAED8175040}" type="sibTrans" cxnId="{B844C6F1-2818-4F3A-97BB-A513A7A6487D}">
      <dgm:prSet/>
      <dgm:spPr/>
      <dgm:t>
        <a:bodyPr/>
        <a:lstStyle/>
        <a:p>
          <a:endParaRPr lang="en-US" sz="2000">
            <a:solidFill>
              <a:schemeClr val="bg2"/>
            </a:solidFill>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sz="2000">
            <a:solidFill>
              <a:schemeClr val="bg2"/>
            </a:solidFill>
            <a:latin typeface="+mj-lt"/>
          </a:endParaRPr>
        </a:p>
      </dgm:t>
    </dgm:pt>
    <dgm:pt modelId="{C70C4ADA-4F3B-4BCA-9873-A32F1BD4BEED}" type="sibTrans" cxnId="{220E0694-B595-46BE-BDB9-2B1763BF7F42}">
      <dgm:prSet/>
      <dgm:spPr/>
      <dgm:t>
        <a:bodyPr/>
        <a:lstStyle/>
        <a:p>
          <a:endParaRPr lang="en-US" sz="2000">
            <a:solidFill>
              <a:schemeClr val="bg2"/>
            </a:solidFill>
            <a:latin typeface="+mj-lt"/>
          </a:endParaRPr>
        </a:p>
      </dgm:t>
    </dgm:pt>
    <dgm:pt modelId="{F1A8E0FB-6830-44B9-AD5D-2C6541803F4D}">
      <dgm:prSet phldrT="[Text]" custT="1"/>
      <dgm:spPr/>
      <dgm:t>
        <a:bodyPr/>
        <a:lstStyle/>
        <a:p>
          <a:pPr algn="ctr"/>
          <a:r>
            <a:rPr lang="en-US" sz="3200" dirty="0">
              <a:latin typeface="+mj-lt"/>
            </a:rPr>
            <a:t>Data Acquisition and Understanding</a:t>
          </a:r>
        </a:p>
      </dgm:t>
    </dgm:pt>
    <dgm:pt modelId="{BA9882FF-0D62-440B-AE35-07B5440B7352}" type="parTrans" cxnId="{DA864F5A-43C0-4EAB-ACD8-C653DCDBC285}">
      <dgm:prSet/>
      <dgm:spPr/>
      <dgm:t>
        <a:bodyPr/>
        <a:lstStyle/>
        <a:p>
          <a:endParaRPr lang="en-US" sz="2000">
            <a:solidFill>
              <a:schemeClr val="bg2"/>
            </a:solidFill>
            <a:latin typeface="+mj-lt"/>
          </a:endParaRPr>
        </a:p>
      </dgm:t>
    </dgm:pt>
    <dgm:pt modelId="{BE3BCC92-A824-45B0-AD74-589AA75A91ED}" type="sibTrans" cxnId="{DA864F5A-43C0-4EAB-ACD8-C653DCDBC285}">
      <dgm:prSet/>
      <dgm:spPr/>
      <dgm:t>
        <a:bodyPr/>
        <a:lstStyle/>
        <a:p>
          <a:endParaRPr lang="en-US" sz="2000">
            <a:solidFill>
              <a:schemeClr val="bg2"/>
            </a:solidFill>
            <a:latin typeface="+mj-lt"/>
          </a:endParaRPr>
        </a:p>
      </dgm:t>
    </dgm:pt>
    <dgm:pt modelId="{6DCAF490-84DF-45AB-95F8-850141BC8BDF}">
      <dgm:prSet phldrT="[Text]" custT="1"/>
      <dgm:spPr/>
      <dgm:t>
        <a:bodyPr/>
        <a:lstStyle/>
        <a:p>
          <a:r>
            <a:rPr lang="en-US" sz="1900" dirty="0">
              <a:latin typeface="+mj-lt"/>
            </a:rPr>
            <a:t>Ingest Data</a:t>
          </a:r>
        </a:p>
      </dgm:t>
    </dgm:pt>
    <dgm:pt modelId="{313354FE-947E-4C91-850E-55158EB5406E}" type="parTrans" cxnId="{DB01149F-013B-4AAC-83B8-EA5A02812FB1}">
      <dgm:prSet/>
      <dgm:spPr/>
      <dgm:t>
        <a:bodyPr/>
        <a:lstStyle/>
        <a:p>
          <a:endParaRPr lang="en-US" sz="2000">
            <a:solidFill>
              <a:schemeClr val="bg2"/>
            </a:solidFill>
            <a:latin typeface="+mj-lt"/>
          </a:endParaRPr>
        </a:p>
      </dgm:t>
    </dgm:pt>
    <dgm:pt modelId="{263CB43B-A0A5-48BB-9C20-6635267C3C22}" type="sibTrans" cxnId="{DB01149F-013B-4AAC-83B8-EA5A02812FB1}">
      <dgm:prSet/>
      <dgm:spPr/>
      <dgm:t>
        <a:bodyPr/>
        <a:lstStyle/>
        <a:p>
          <a:endParaRPr lang="en-US" sz="2000">
            <a:solidFill>
              <a:schemeClr val="bg2"/>
            </a:solidFill>
            <a:latin typeface="+mj-lt"/>
          </a:endParaRPr>
        </a:p>
      </dgm:t>
    </dgm:pt>
    <dgm:pt modelId="{FFA8810D-171E-4ADC-9CA8-AD57E9D504B9}">
      <dgm:prSet phldrT="[Text]" custT="1"/>
      <dgm:spPr/>
      <dgm:t>
        <a:bodyPr/>
        <a:lstStyle/>
        <a:p>
          <a:r>
            <a:rPr lang="en-US" sz="1900" dirty="0">
              <a:latin typeface="+mj-lt"/>
            </a:rPr>
            <a:t>Explore Data</a:t>
          </a:r>
        </a:p>
      </dgm:t>
    </dgm:pt>
    <dgm:pt modelId="{5D65951A-CE03-4794-9B2D-0A910A6F7FFB}" type="parTrans" cxnId="{E0CB53AF-1846-4839-A817-1BC95F8C73F9}">
      <dgm:prSet/>
      <dgm:spPr/>
      <dgm:t>
        <a:bodyPr/>
        <a:lstStyle/>
        <a:p>
          <a:endParaRPr lang="en-US" sz="2000">
            <a:solidFill>
              <a:schemeClr val="bg2"/>
            </a:solidFill>
            <a:latin typeface="+mj-lt"/>
          </a:endParaRPr>
        </a:p>
      </dgm:t>
    </dgm:pt>
    <dgm:pt modelId="{39C8D19E-6ADE-404A-843B-5F7020E72704}" type="sibTrans" cxnId="{E0CB53AF-1846-4839-A817-1BC95F8C73F9}">
      <dgm:prSet/>
      <dgm:spPr/>
      <dgm:t>
        <a:bodyPr/>
        <a:lstStyle/>
        <a:p>
          <a:endParaRPr lang="en-US" sz="2000">
            <a:solidFill>
              <a:schemeClr val="bg2"/>
            </a:solidFill>
            <a:latin typeface="+mj-lt"/>
          </a:endParaRPr>
        </a:p>
      </dgm:t>
    </dgm:pt>
    <dgm:pt modelId="{D66E06A0-8A7E-4EC6-8113-DDE9A8B91FA6}">
      <dgm:prSet phldrT="[Text]" custT="1"/>
      <dgm:spPr/>
      <dgm:t>
        <a:bodyPr/>
        <a:lstStyle/>
        <a:p>
          <a:pPr algn="ctr"/>
          <a:r>
            <a:rPr lang="en-US" sz="3200" dirty="0">
              <a:latin typeface="+mj-lt"/>
            </a:rPr>
            <a:t>Modeling</a:t>
          </a:r>
        </a:p>
      </dgm:t>
    </dgm:pt>
    <dgm:pt modelId="{C867E6D7-68AF-43C6-9E80-BCCDD787550D}" type="parTrans" cxnId="{BEEC91A6-BF3F-4E21-859A-6D47ACAB8869}">
      <dgm:prSet/>
      <dgm:spPr/>
      <dgm:t>
        <a:bodyPr/>
        <a:lstStyle/>
        <a:p>
          <a:endParaRPr lang="en-US" sz="2000">
            <a:solidFill>
              <a:schemeClr val="bg2"/>
            </a:solidFill>
            <a:latin typeface="+mj-lt"/>
          </a:endParaRPr>
        </a:p>
      </dgm:t>
    </dgm:pt>
    <dgm:pt modelId="{4B0A02DB-F299-4AF6-A72B-B326FF7FE0BF}" type="sibTrans" cxnId="{BEEC91A6-BF3F-4E21-859A-6D47ACAB8869}">
      <dgm:prSet/>
      <dgm:spPr/>
      <dgm:t>
        <a:bodyPr/>
        <a:lstStyle/>
        <a:p>
          <a:endParaRPr lang="en-US" sz="2000">
            <a:solidFill>
              <a:schemeClr val="bg2"/>
            </a:solidFill>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sz="2000">
            <a:solidFill>
              <a:schemeClr val="bg2"/>
            </a:solidFill>
            <a:latin typeface="+mj-lt"/>
          </a:endParaRPr>
        </a:p>
      </dgm:t>
    </dgm:pt>
    <dgm:pt modelId="{1759AAC5-ADE9-4C55-8CBC-F1BA87C7A449}" type="sibTrans" cxnId="{61EC2C2C-336E-4152-BF38-E133255426BA}">
      <dgm:prSet/>
      <dgm:spPr/>
      <dgm:t>
        <a:bodyPr/>
        <a:lstStyle/>
        <a:p>
          <a:endParaRPr lang="en-US" sz="2000">
            <a:solidFill>
              <a:schemeClr val="bg2"/>
            </a:solidFill>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sz="2000">
            <a:solidFill>
              <a:schemeClr val="bg2"/>
            </a:solidFill>
            <a:latin typeface="+mj-lt"/>
          </a:endParaRPr>
        </a:p>
      </dgm:t>
    </dgm:pt>
    <dgm:pt modelId="{7ECF0E78-DA31-4B08-B8BA-D36DB4135973}" type="sibTrans" cxnId="{F0686254-8BC6-438F-8EFC-387D3C1B4582}">
      <dgm:prSet/>
      <dgm:spPr/>
      <dgm:t>
        <a:bodyPr/>
        <a:lstStyle/>
        <a:p>
          <a:endParaRPr lang="en-US" sz="2000">
            <a:solidFill>
              <a:schemeClr val="bg2"/>
            </a:solidFill>
            <a:latin typeface="+mj-lt"/>
          </a:endParaRPr>
        </a:p>
      </dgm:t>
    </dgm:pt>
    <dgm:pt modelId="{31989D70-38F8-40B4-A5B4-5B64244B04DB}">
      <dgm:prSet phldrT="[Text]" custT="1"/>
      <dgm:spPr/>
      <dgm:t>
        <a:bodyPr/>
        <a:lstStyle/>
        <a:p>
          <a:pPr algn="ctr"/>
          <a:r>
            <a:rPr lang="en-US" sz="3200" dirty="0">
              <a:latin typeface="+mj-lt"/>
            </a:rPr>
            <a:t>Deployment</a:t>
          </a:r>
        </a:p>
      </dgm:t>
    </dgm:pt>
    <dgm:pt modelId="{E572721F-5C44-451C-B622-59B69949FB6F}" type="parTrans" cxnId="{991DC740-DAA8-4D0F-9BAB-A0D216E7CC9C}">
      <dgm:prSet/>
      <dgm:spPr/>
      <dgm:t>
        <a:bodyPr/>
        <a:lstStyle/>
        <a:p>
          <a:endParaRPr lang="en-US" sz="2000">
            <a:solidFill>
              <a:schemeClr val="bg2"/>
            </a:solidFill>
            <a:latin typeface="+mj-lt"/>
          </a:endParaRPr>
        </a:p>
      </dgm:t>
    </dgm:pt>
    <dgm:pt modelId="{FF3730C5-5E1C-4ACF-986C-1F8BDC2A87DC}" type="sibTrans" cxnId="{991DC740-DAA8-4D0F-9BAB-A0D216E7CC9C}">
      <dgm:prSet/>
      <dgm:spPr/>
      <dgm:t>
        <a:bodyPr/>
        <a:lstStyle/>
        <a:p>
          <a:endParaRPr lang="en-US" sz="2000">
            <a:solidFill>
              <a:schemeClr val="bg2"/>
            </a:solidFill>
            <a:latin typeface="+mj-lt"/>
          </a:endParaRPr>
        </a:p>
      </dgm:t>
    </dgm:pt>
    <dgm:pt modelId="{75DF6D0E-EF2D-4899-8D56-11F561E3DB25}">
      <dgm:prSet phldrT="[Text]" custT="1"/>
      <dgm:spPr/>
      <dgm:t>
        <a:bodyPr/>
        <a:lstStyle/>
        <a:p>
          <a:pPr algn="ctr"/>
          <a:r>
            <a:rPr lang="en-US" sz="3200" dirty="0">
              <a:latin typeface="+mj-lt"/>
            </a:rPr>
            <a:t>Customer Acceptance</a:t>
          </a:r>
        </a:p>
      </dgm:t>
    </dgm:pt>
    <dgm:pt modelId="{510C85D3-5932-4392-B61F-F44832C002FA}" type="parTrans" cxnId="{6D864F09-96B6-4444-95BB-D36241D055AD}">
      <dgm:prSet/>
      <dgm:spPr/>
      <dgm:t>
        <a:bodyPr/>
        <a:lstStyle/>
        <a:p>
          <a:endParaRPr lang="en-US" sz="2000">
            <a:solidFill>
              <a:schemeClr val="bg2"/>
            </a:solidFill>
            <a:latin typeface="+mj-lt"/>
          </a:endParaRPr>
        </a:p>
      </dgm:t>
    </dgm:pt>
    <dgm:pt modelId="{EEE1824F-AA0C-4316-B13D-ED5B6C4A0BFF}" type="sibTrans" cxnId="{6D864F09-96B6-4444-95BB-D36241D055AD}">
      <dgm:prSet/>
      <dgm:spPr/>
      <dgm:t>
        <a:bodyPr/>
        <a:lstStyle/>
        <a:p>
          <a:endParaRPr lang="en-US" sz="2000">
            <a:solidFill>
              <a:schemeClr val="bg2"/>
            </a:solidFill>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sz="2000">
            <a:solidFill>
              <a:schemeClr val="bg2"/>
            </a:solidFill>
            <a:latin typeface="+mj-lt"/>
          </a:endParaRPr>
        </a:p>
      </dgm:t>
    </dgm:pt>
    <dgm:pt modelId="{71EEF2D0-2FC1-4663-8EEF-F8400FED6EFD}" type="sibTrans" cxnId="{F9E74B76-F3C8-474B-BE2E-672A4119380A}">
      <dgm:prSet/>
      <dgm:spPr/>
      <dgm:t>
        <a:bodyPr/>
        <a:lstStyle/>
        <a:p>
          <a:endParaRPr lang="en-US" sz="2000">
            <a:solidFill>
              <a:schemeClr val="bg2"/>
            </a:solidFill>
            <a:latin typeface="+mj-lt"/>
          </a:endParaRPr>
        </a:p>
      </dgm:t>
    </dgm:pt>
    <dgm:pt modelId="{0EBDD81E-61F5-4638-8D23-E64C5784A7CF}">
      <dgm:prSet phldrT="[Text]" custT="1"/>
      <dgm:spPr/>
      <dgm:t>
        <a:bodyPr/>
        <a:lstStyle/>
        <a:p>
          <a:r>
            <a:rPr lang="en-US" sz="1900" dirty="0">
              <a:latin typeface="+mj-lt"/>
            </a:rPr>
            <a:t>Testing and Validation</a:t>
          </a:r>
        </a:p>
      </dgm:t>
    </dgm:pt>
    <dgm:pt modelId="{5BB68B6B-2470-4B4F-B825-03319C46AB79}" type="parTrans" cxnId="{0652195D-79AA-41CB-A507-64DF25821FDC}">
      <dgm:prSet/>
      <dgm:spPr/>
      <dgm:t>
        <a:bodyPr/>
        <a:lstStyle/>
        <a:p>
          <a:endParaRPr lang="en-US" sz="2000">
            <a:solidFill>
              <a:schemeClr val="bg2"/>
            </a:solidFill>
            <a:latin typeface="+mj-lt"/>
          </a:endParaRPr>
        </a:p>
      </dgm:t>
    </dgm:pt>
    <dgm:pt modelId="{91158606-88ED-478A-99A3-FF66895B49FF}" type="sibTrans" cxnId="{0652195D-79AA-41CB-A507-64DF25821FDC}">
      <dgm:prSet/>
      <dgm:spPr/>
      <dgm:t>
        <a:bodyPr/>
        <a:lstStyle/>
        <a:p>
          <a:endParaRPr lang="en-US" sz="2000">
            <a:solidFill>
              <a:schemeClr val="bg2"/>
            </a:solidFill>
            <a:latin typeface="+mj-lt"/>
          </a:endParaRPr>
        </a:p>
      </dgm:t>
    </dgm:pt>
    <dgm:pt modelId="{8A560357-68DD-41D8-841B-C94F1FF7F8C1}">
      <dgm:prSet phldrT="[Text]" custT="1"/>
      <dgm:spPr/>
      <dgm:t>
        <a:bodyPr/>
        <a:lstStyle/>
        <a:p>
          <a:r>
            <a:rPr lang="en-US" sz="1900" dirty="0">
              <a:latin typeface="+mj-lt"/>
            </a:rPr>
            <a:t>Update Data</a:t>
          </a:r>
        </a:p>
      </dgm:t>
    </dgm:pt>
    <dgm:pt modelId="{3BC3B257-E716-47FF-9C4E-A1CCC502A26F}" type="parTrans" cxnId="{6D9D5740-A78E-432A-A19B-79A7629DFBD0}">
      <dgm:prSet/>
      <dgm:spPr/>
      <dgm:t>
        <a:bodyPr/>
        <a:lstStyle/>
        <a:p>
          <a:endParaRPr lang="en-US" sz="2000">
            <a:solidFill>
              <a:schemeClr val="bg2"/>
            </a:solidFill>
            <a:latin typeface="+mj-lt"/>
          </a:endParaRPr>
        </a:p>
      </dgm:t>
    </dgm:pt>
    <dgm:pt modelId="{0F75D6C4-A5C5-4C0B-A3E7-E1F9127F0B24}" type="sibTrans" cxnId="{6D9D5740-A78E-432A-A19B-79A7629DFBD0}">
      <dgm:prSet/>
      <dgm:spPr/>
      <dgm:t>
        <a:bodyPr/>
        <a:lstStyle/>
        <a:p>
          <a:endParaRPr lang="en-US" sz="2000">
            <a:solidFill>
              <a:schemeClr val="bg2"/>
            </a:solidFill>
            <a:latin typeface="+mj-lt"/>
          </a:endParaRPr>
        </a:p>
      </dgm:t>
    </dgm:pt>
    <dgm:pt modelId="{051E23BA-27D6-402B-8FD0-643279078F48}">
      <dgm:prSet phldrT="[Text]" custT="1"/>
      <dgm:spPr/>
      <dgm:t>
        <a:bodyPr/>
        <a:lstStyle/>
        <a:p>
          <a:r>
            <a:rPr lang="en-US" sz="1900" dirty="0">
              <a:latin typeface="+mj-lt"/>
            </a:rPr>
            <a:t>Handoff</a:t>
          </a:r>
        </a:p>
      </dgm:t>
    </dgm:pt>
    <dgm:pt modelId="{DA361144-F3E9-4156-9CC2-FE98E458196C}" type="parTrans" cxnId="{9D250ACB-3782-4169-9513-D5939A72E14C}">
      <dgm:prSet/>
      <dgm:spPr/>
      <dgm:t>
        <a:bodyPr/>
        <a:lstStyle/>
        <a:p>
          <a:endParaRPr lang="en-US" sz="2000">
            <a:solidFill>
              <a:schemeClr val="bg2"/>
            </a:solidFill>
            <a:latin typeface="+mj-lt"/>
          </a:endParaRPr>
        </a:p>
      </dgm:t>
    </dgm:pt>
    <dgm:pt modelId="{AE55AD9A-A016-48D5-8B34-AF4339F64545}" type="sibTrans" cxnId="{9D250ACB-3782-4169-9513-D5939A72E14C}">
      <dgm:prSet/>
      <dgm:spPr/>
      <dgm:t>
        <a:bodyPr/>
        <a:lstStyle/>
        <a:p>
          <a:endParaRPr lang="en-US" sz="2000">
            <a:solidFill>
              <a:schemeClr val="bg2"/>
            </a:solidFill>
            <a:latin typeface="+mj-lt"/>
          </a:endParaRPr>
        </a:p>
      </dgm:t>
    </dgm:pt>
    <dgm:pt modelId="{22DA92B9-9C40-4A25-8285-966799791BE7}">
      <dgm:prSet phldrT="[Text]" custT="1"/>
      <dgm:spPr/>
      <dgm:t>
        <a:bodyPr/>
        <a:lstStyle/>
        <a:p>
          <a:r>
            <a:rPr lang="en-US" sz="1900" dirty="0">
              <a:latin typeface="+mj-lt"/>
            </a:rPr>
            <a:t>Re-train and re-score</a:t>
          </a:r>
        </a:p>
      </dgm:t>
    </dgm:pt>
    <dgm:pt modelId="{31A0D76F-F3CA-4A56-BA36-A4E6E0932F46}" type="parTrans" cxnId="{0E99CA05-F61F-4393-A01F-8CCEDBA18F50}">
      <dgm:prSet/>
      <dgm:spPr/>
      <dgm:t>
        <a:bodyPr/>
        <a:lstStyle/>
        <a:p>
          <a:endParaRPr lang="en-US" sz="2000">
            <a:solidFill>
              <a:schemeClr val="bg2"/>
            </a:solidFill>
            <a:latin typeface="+mj-lt"/>
          </a:endParaRPr>
        </a:p>
      </dgm:t>
    </dgm:pt>
    <dgm:pt modelId="{C2D43770-B53D-4E3F-BFD7-DA47BF161F8F}" type="sibTrans" cxnId="{0E99CA05-F61F-4393-A01F-8CCEDBA18F50}">
      <dgm:prSet/>
      <dgm:spPr/>
      <dgm:t>
        <a:bodyPr/>
        <a:lstStyle/>
        <a:p>
          <a:endParaRPr lang="en-US" sz="20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1_1" csCatId="accent1" phldr="1"/>
      <dgm:spPr/>
      <dgm:t>
        <a:bodyPr/>
        <a:lstStyle/>
        <a:p>
          <a:endParaRPr lang="en-US"/>
        </a:p>
      </dgm:t>
    </dgm:pt>
    <dgm:pt modelId="{B7ABE164-295C-4643-A9AC-4A52A9ED0489}">
      <dgm:prSet phldrT="[Text]"/>
      <dgm:spPr/>
      <dgm:t>
        <a:bodyPr/>
        <a:lstStyle/>
        <a:p>
          <a:r>
            <a:rPr lang="en-US" dirty="0"/>
            <a:t>Big Data</a:t>
          </a:r>
        </a:p>
      </dgm:t>
    </dgm:pt>
    <dgm:pt modelId="{D7B9EDA9-31A9-4C9B-BACF-788F74E16796}" type="parTrans" cxnId="{F0748B1E-69F6-4D72-AC7C-1FCD73A7DC1C}">
      <dgm:prSet/>
      <dgm:spPr/>
      <dgm:t>
        <a:bodyPr/>
        <a:lstStyle/>
        <a:p>
          <a:endParaRPr lang="en-US">
            <a:solidFill>
              <a:schemeClr val="bg2"/>
            </a:solidFill>
          </a:endParaRPr>
        </a:p>
      </dgm:t>
    </dgm:pt>
    <dgm:pt modelId="{E258CD5B-DCF5-4FA1-918A-96BF68D81660}" type="sibTrans" cxnId="{F0748B1E-69F6-4D72-AC7C-1FCD73A7DC1C}">
      <dgm:prSet/>
      <dgm:spPr/>
      <dgm:t>
        <a:bodyPr/>
        <a:lstStyle/>
        <a:p>
          <a:endParaRPr lang="en-US">
            <a:solidFill>
              <a:schemeClr val="bg2"/>
            </a:solidFill>
          </a:endParaRPr>
        </a:p>
      </dgm:t>
    </dgm:pt>
    <dgm:pt modelId="{83035B10-5B03-4E94-B998-54AE7C044928}">
      <dgm:prSet phldrT="[Text]"/>
      <dgm:spPr/>
      <dgm:t>
        <a:bodyPr/>
        <a:lstStyle/>
        <a:p>
          <a:r>
            <a:rPr lang="en-US" dirty="0"/>
            <a:t>Intelligence and Advanced Analytics</a:t>
          </a:r>
        </a:p>
      </dgm:t>
    </dgm:pt>
    <dgm:pt modelId="{29EAADE1-28CA-4B2F-9D08-E28BE3C336C9}" type="parTrans" cxnId="{079F09CF-DCE9-434C-8F2E-1D1CEF9AE618}">
      <dgm:prSet/>
      <dgm:spPr/>
      <dgm:t>
        <a:bodyPr/>
        <a:lstStyle/>
        <a:p>
          <a:endParaRPr lang="en-US">
            <a:solidFill>
              <a:schemeClr val="bg2"/>
            </a:solidFill>
          </a:endParaRPr>
        </a:p>
      </dgm:t>
    </dgm:pt>
    <dgm:pt modelId="{CCAFAB26-9A3D-4842-B88A-B85DA7E92A54}" type="sibTrans" cxnId="{079F09CF-DCE9-434C-8F2E-1D1CEF9AE618}">
      <dgm:prSet/>
      <dgm:spPr/>
      <dgm:t>
        <a:bodyPr/>
        <a:lstStyle/>
        <a:p>
          <a:endParaRPr lang="en-US">
            <a:solidFill>
              <a:schemeClr val="bg2"/>
            </a:solidFill>
          </a:endParaRPr>
        </a:p>
      </dgm:t>
    </dgm:pt>
    <dgm:pt modelId="{AE188517-6F02-4DC7-9EA1-785FA319F063}">
      <dgm:prSet phldrT="[Text]"/>
      <dgm:spPr/>
      <dgm:t>
        <a:bodyPr/>
        <a:lstStyle/>
        <a:p>
          <a:r>
            <a:rPr lang="en-US" dirty="0"/>
            <a:t>Information Management</a:t>
          </a:r>
        </a:p>
      </dgm:t>
    </dgm:pt>
    <dgm:pt modelId="{74848A57-88CA-4171-BA55-469D8EB40C4E}" type="parTrans" cxnId="{24E599A1-6729-4099-9255-88D181B968CF}">
      <dgm:prSet/>
      <dgm:spPr/>
      <dgm:t>
        <a:bodyPr/>
        <a:lstStyle/>
        <a:p>
          <a:endParaRPr lang="en-US">
            <a:solidFill>
              <a:schemeClr val="bg2"/>
            </a:solidFill>
          </a:endParaRPr>
        </a:p>
      </dgm:t>
    </dgm:pt>
    <dgm:pt modelId="{568BD935-8EC2-4B1C-BF6A-A8560483E10B}" type="sibTrans" cxnId="{24E599A1-6729-4099-9255-88D181B968CF}">
      <dgm:prSet/>
      <dgm:spPr/>
      <dgm:t>
        <a:bodyPr/>
        <a:lstStyle/>
        <a:p>
          <a:endParaRPr lang="en-US">
            <a:solidFill>
              <a:schemeClr val="bg2"/>
            </a:solidFill>
          </a:endParaRPr>
        </a:p>
      </dgm:t>
    </dgm:pt>
    <dgm:pt modelId="{409B9CC3-4843-4F1F-8DB8-96CB6DDF3AA2}">
      <dgm:prSet phldrT="[Text]"/>
      <dgm:spPr/>
      <dgm:t>
        <a:bodyPr/>
        <a:lstStyle/>
        <a:p>
          <a:r>
            <a:rPr lang="en-US" dirty="0"/>
            <a:t>Solutions</a:t>
          </a:r>
        </a:p>
      </dgm:t>
    </dgm:pt>
    <dgm:pt modelId="{77CCCA81-853E-493E-9B0C-4E6584C3068A}" type="parTrans" cxnId="{B3DD820B-3AA4-4A6C-9F64-C25D87901740}">
      <dgm:prSet/>
      <dgm:spPr/>
      <dgm:t>
        <a:bodyPr/>
        <a:lstStyle/>
        <a:p>
          <a:endParaRPr lang="en-US">
            <a:solidFill>
              <a:schemeClr val="bg2"/>
            </a:solidFill>
          </a:endParaRPr>
        </a:p>
      </dgm:t>
    </dgm:pt>
    <dgm:pt modelId="{836C109C-9A6E-440E-B4AC-6BC1096CC572}" type="sibTrans" cxnId="{B3DD820B-3AA4-4A6C-9F64-C25D87901740}">
      <dgm:prSet/>
      <dgm:spPr/>
      <dgm:t>
        <a:bodyPr/>
        <a:lstStyle/>
        <a:p>
          <a:endParaRPr lang="en-US">
            <a:solidFill>
              <a:schemeClr val="bg2"/>
            </a:solidFill>
          </a:endParaRPr>
        </a:p>
      </dgm:t>
    </dgm:pt>
    <dgm:pt modelId="{FAB16A03-BE56-456B-A536-11D2B059B184}">
      <dgm:prSet phldrT="[Text]"/>
      <dgm:spPr/>
      <dgm:t>
        <a:bodyPr/>
        <a:lstStyle/>
        <a:p>
          <a:r>
            <a:rPr lang="en-US" dirty="0"/>
            <a:t>Visualization</a:t>
          </a:r>
        </a:p>
      </dgm:t>
    </dgm:pt>
    <dgm:pt modelId="{E696F496-5F4D-42CD-9F72-E43FD3C8193B}" type="parTrans" cxnId="{71A2D341-AA26-4666-9932-B4140F5EF1FE}">
      <dgm:prSet/>
      <dgm:spPr/>
      <dgm:t>
        <a:bodyPr/>
        <a:lstStyle/>
        <a:p>
          <a:endParaRPr lang="en-US">
            <a:solidFill>
              <a:schemeClr val="bg2"/>
            </a:solidFill>
          </a:endParaRPr>
        </a:p>
      </dgm:t>
    </dgm:pt>
    <dgm:pt modelId="{F52C13CC-48BB-4B43-924B-37454BDA68A7}" type="sibTrans" cxnId="{71A2D341-AA26-4666-9932-B4140F5EF1FE}">
      <dgm:prSet/>
      <dgm:spPr/>
      <dgm:t>
        <a:bodyPr/>
        <a:lstStyle/>
        <a:p>
          <a:endParaRPr lang="en-US">
            <a:solidFill>
              <a:schemeClr val="bg2"/>
            </a:solidFill>
          </a:endParaRPr>
        </a:p>
      </dgm:t>
    </dgm:pt>
    <dgm:pt modelId="{C435CE00-F12B-4E1E-88D5-230CB3206998}">
      <dgm:prSet phldrT="[Text]"/>
      <dgm:spPr/>
      <dgm:t>
        <a:bodyPr/>
        <a:lstStyle/>
        <a:p>
          <a:r>
            <a:rPr lang="en-US" dirty="0"/>
            <a:t>Data Catalog</a:t>
          </a:r>
        </a:p>
      </dgm:t>
    </dgm:pt>
    <dgm:pt modelId="{F9EB0DCC-9309-46BE-A5F1-946925EF213F}" type="parTrans" cxnId="{1CD85CE6-891A-4559-8C6A-B2B8D10777A3}">
      <dgm:prSet/>
      <dgm:spPr/>
      <dgm:t>
        <a:bodyPr/>
        <a:lstStyle/>
        <a:p>
          <a:endParaRPr lang="en-US">
            <a:solidFill>
              <a:schemeClr val="bg2"/>
            </a:solidFill>
          </a:endParaRPr>
        </a:p>
      </dgm:t>
    </dgm:pt>
    <dgm:pt modelId="{0CEF2004-E424-4306-81CF-77EC267D4144}" type="sibTrans" cxnId="{1CD85CE6-891A-4559-8C6A-B2B8D10777A3}">
      <dgm:prSet/>
      <dgm:spPr/>
      <dgm:t>
        <a:bodyPr/>
        <a:lstStyle/>
        <a:p>
          <a:endParaRPr lang="en-US">
            <a:solidFill>
              <a:schemeClr val="bg2"/>
            </a:solidFill>
          </a:endParaRPr>
        </a:p>
      </dgm:t>
    </dgm:pt>
    <dgm:pt modelId="{E0ED33B9-E057-48E4-9E71-165921651D87}">
      <dgm:prSet phldrT="[Text]"/>
      <dgm:spPr/>
      <dgm:t>
        <a:bodyPr/>
        <a:lstStyle/>
        <a:p>
          <a:r>
            <a:rPr lang="en-US" dirty="0"/>
            <a:t>Data Factory</a:t>
          </a:r>
        </a:p>
      </dgm:t>
    </dgm:pt>
    <dgm:pt modelId="{8F5638B8-B583-4EA8-8527-E5F16E143838}" type="parTrans" cxnId="{F5977DCA-FCBA-4F37-ADC2-A8184D8E3430}">
      <dgm:prSet/>
      <dgm:spPr/>
      <dgm:t>
        <a:bodyPr/>
        <a:lstStyle/>
        <a:p>
          <a:endParaRPr lang="en-US">
            <a:solidFill>
              <a:schemeClr val="bg2"/>
            </a:solidFill>
          </a:endParaRPr>
        </a:p>
      </dgm:t>
    </dgm:pt>
    <dgm:pt modelId="{51F416F3-006F-4031-AE82-2898447A66EE}" type="sibTrans" cxnId="{F5977DCA-FCBA-4F37-ADC2-A8184D8E3430}">
      <dgm:prSet/>
      <dgm:spPr/>
      <dgm:t>
        <a:bodyPr/>
        <a:lstStyle/>
        <a:p>
          <a:endParaRPr lang="en-US">
            <a:solidFill>
              <a:schemeClr val="bg2"/>
            </a:solidFill>
          </a:endParaRPr>
        </a:p>
      </dgm:t>
    </dgm:pt>
    <dgm:pt modelId="{2C858D8A-BD5E-4943-AC97-3FD818D142DE}">
      <dgm:prSet phldrT="[Text]"/>
      <dgm:spPr/>
      <dgm:t>
        <a:bodyPr/>
        <a:lstStyle/>
        <a:p>
          <a:r>
            <a:rPr lang="en-US" dirty="0"/>
            <a:t>Event Hubs</a:t>
          </a:r>
        </a:p>
      </dgm:t>
    </dgm:pt>
    <dgm:pt modelId="{7AF921C9-184C-4D38-ADA9-B898BB7C86C3}" type="parTrans" cxnId="{1388CB44-D3BD-4172-A856-4508ADCD1F7B}">
      <dgm:prSet/>
      <dgm:spPr/>
      <dgm:t>
        <a:bodyPr/>
        <a:lstStyle/>
        <a:p>
          <a:endParaRPr lang="en-US">
            <a:solidFill>
              <a:schemeClr val="bg2"/>
            </a:solidFill>
          </a:endParaRPr>
        </a:p>
      </dgm:t>
    </dgm:pt>
    <dgm:pt modelId="{FCFEDC75-2A47-4FA0-A695-73D0EBC2EB13}" type="sibTrans" cxnId="{1388CB44-D3BD-4172-A856-4508ADCD1F7B}">
      <dgm:prSet/>
      <dgm:spPr/>
      <dgm:t>
        <a:bodyPr/>
        <a:lstStyle/>
        <a:p>
          <a:endParaRPr lang="en-US">
            <a:solidFill>
              <a:schemeClr val="bg2"/>
            </a:solidFill>
          </a:endParaRPr>
        </a:p>
      </dgm:t>
    </dgm:pt>
    <dgm:pt modelId="{F29C4E01-C09B-438C-9113-B6E9FF5DFD38}">
      <dgm:prSet phldrT="[Text]"/>
      <dgm:spPr/>
      <dgm:t>
        <a:bodyPr/>
        <a:lstStyle/>
        <a:p>
          <a:r>
            <a:rPr lang="en-US" dirty="0"/>
            <a:t>Data Lake</a:t>
          </a:r>
        </a:p>
      </dgm:t>
    </dgm:pt>
    <dgm:pt modelId="{2AE4FD27-8C8C-45AE-955D-C6687931D935}" type="parTrans" cxnId="{6621DB28-19D2-4317-A7D4-C1E229BDD2C3}">
      <dgm:prSet/>
      <dgm:spPr/>
      <dgm:t>
        <a:bodyPr/>
        <a:lstStyle/>
        <a:p>
          <a:endParaRPr lang="en-US">
            <a:solidFill>
              <a:schemeClr val="bg2"/>
            </a:solidFill>
          </a:endParaRPr>
        </a:p>
      </dgm:t>
    </dgm:pt>
    <dgm:pt modelId="{04836762-099A-4108-A61E-F6DA35680CF1}" type="sibTrans" cxnId="{6621DB28-19D2-4317-A7D4-C1E229BDD2C3}">
      <dgm:prSet/>
      <dgm:spPr/>
      <dgm:t>
        <a:bodyPr/>
        <a:lstStyle/>
        <a:p>
          <a:endParaRPr lang="en-US">
            <a:solidFill>
              <a:schemeClr val="bg2"/>
            </a:solidFill>
          </a:endParaRPr>
        </a:p>
      </dgm:t>
    </dgm:pt>
    <dgm:pt modelId="{E676A21A-338A-453B-AAD8-AE1E2984352F}">
      <dgm:prSet phldrT="[Text]"/>
      <dgm:spPr/>
      <dgm:t>
        <a:bodyPr/>
        <a:lstStyle/>
        <a:p>
          <a:r>
            <a:rPr lang="en-US" dirty="0"/>
            <a:t>SQL Data Warehouse</a:t>
          </a:r>
        </a:p>
      </dgm:t>
    </dgm:pt>
    <dgm:pt modelId="{5E57A9C1-04A6-49D4-AC5A-3AAB86452FC4}" type="parTrans" cxnId="{2693BB9E-F2CD-4F85-AA3F-0D8505E9CD15}">
      <dgm:prSet/>
      <dgm:spPr/>
      <dgm:t>
        <a:bodyPr/>
        <a:lstStyle/>
        <a:p>
          <a:endParaRPr lang="en-US">
            <a:solidFill>
              <a:schemeClr val="bg2"/>
            </a:solidFill>
          </a:endParaRPr>
        </a:p>
      </dgm:t>
    </dgm:pt>
    <dgm:pt modelId="{5A93F642-2A8F-4AA8-91EA-8C5E73BCE0E6}" type="sibTrans" cxnId="{2693BB9E-F2CD-4F85-AA3F-0D8505E9CD15}">
      <dgm:prSet/>
      <dgm:spPr/>
      <dgm:t>
        <a:bodyPr/>
        <a:lstStyle/>
        <a:p>
          <a:endParaRPr lang="en-US">
            <a:solidFill>
              <a:schemeClr val="bg2"/>
            </a:solidFill>
          </a:endParaRPr>
        </a:p>
      </dgm:t>
    </dgm:pt>
    <dgm:pt modelId="{5C0E0F60-874D-4767-AE2F-74FB881F036A}">
      <dgm:prSet phldrT="[Text]"/>
      <dgm:spPr/>
      <dgm:t>
        <a:bodyPr/>
        <a:lstStyle/>
        <a:p>
          <a:r>
            <a:rPr lang="en-US" dirty="0"/>
            <a:t>Cosmos DB</a:t>
          </a:r>
        </a:p>
      </dgm:t>
    </dgm:pt>
    <dgm:pt modelId="{F7E90F27-6C0A-42E0-AF46-1B02D03EFEE8}" type="parTrans" cxnId="{90332A73-B2D0-48BB-8BEC-2F446E08968F}">
      <dgm:prSet/>
      <dgm:spPr/>
      <dgm:t>
        <a:bodyPr/>
        <a:lstStyle/>
        <a:p>
          <a:endParaRPr lang="en-US">
            <a:solidFill>
              <a:schemeClr val="bg2"/>
            </a:solidFill>
          </a:endParaRPr>
        </a:p>
      </dgm:t>
    </dgm:pt>
    <dgm:pt modelId="{4382FA18-74BA-4683-8DEF-EA290B0298B3}" type="sibTrans" cxnId="{90332A73-B2D0-48BB-8BEC-2F446E08968F}">
      <dgm:prSet/>
      <dgm:spPr/>
      <dgm:t>
        <a:bodyPr/>
        <a:lstStyle/>
        <a:p>
          <a:endParaRPr lang="en-US">
            <a:solidFill>
              <a:schemeClr val="bg2"/>
            </a:solidFill>
          </a:endParaRPr>
        </a:p>
      </dgm:t>
    </dgm:pt>
    <dgm:pt modelId="{50C37763-24F8-4AA8-A32B-9F9CA6D119D6}">
      <dgm:prSet phldrT="[Text]"/>
      <dgm:spPr/>
      <dgm:t>
        <a:bodyPr/>
        <a:lstStyle/>
        <a:p>
          <a:r>
            <a:rPr lang="en-US" dirty="0"/>
            <a:t>Cortana, Bot Service, Cognitive Framework</a:t>
          </a:r>
        </a:p>
      </dgm:t>
    </dgm:pt>
    <dgm:pt modelId="{F0D5E2E7-679F-4720-9577-5CD05DCDE746}" type="parTrans" cxnId="{147B58C2-DB15-4ED7-BAAA-B08374A5C799}">
      <dgm:prSet/>
      <dgm:spPr/>
      <dgm:t>
        <a:bodyPr/>
        <a:lstStyle/>
        <a:p>
          <a:endParaRPr lang="en-US">
            <a:solidFill>
              <a:schemeClr val="bg2"/>
            </a:solidFill>
          </a:endParaRPr>
        </a:p>
      </dgm:t>
    </dgm:pt>
    <dgm:pt modelId="{49958AA6-4ED7-42C4-90F9-E8289337C9E3}" type="sibTrans" cxnId="{147B58C2-DB15-4ED7-BAAA-B08374A5C799}">
      <dgm:prSet/>
      <dgm:spPr/>
      <dgm:t>
        <a:bodyPr/>
        <a:lstStyle/>
        <a:p>
          <a:endParaRPr lang="en-US">
            <a:solidFill>
              <a:schemeClr val="bg2"/>
            </a:solidFill>
          </a:endParaRPr>
        </a:p>
      </dgm:t>
    </dgm:pt>
    <dgm:pt modelId="{32CACD8F-92CC-4EB0-82A5-ED325E9C0DCF}">
      <dgm:prSet phldrT="[Text]"/>
      <dgm:spPr/>
      <dgm:t>
        <a:bodyPr/>
        <a:lstStyle/>
        <a:p>
          <a:r>
            <a:rPr lang="en-US" dirty="0"/>
            <a:t>HDInsight</a:t>
          </a:r>
        </a:p>
      </dgm:t>
    </dgm:pt>
    <dgm:pt modelId="{A21F767D-FDA7-4106-99A9-F43109D327CE}" type="parTrans" cxnId="{0376D2BA-EE8B-4769-BC24-CC367BEE684B}">
      <dgm:prSet/>
      <dgm:spPr/>
      <dgm:t>
        <a:bodyPr/>
        <a:lstStyle/>
        <a:p>
          <a:endParaRPr lang="en-US">
            <a:solidFill>
              <a:schemeClr val="bg2"/>
            </a:solidFill>
          </a:endParaRPr>
        </a:p>
      </dgm:t>
    </dgm:pt>
    <dgm:pt modelId="{D9DF8C18-8AD5-4792-BADC-2960152A17B4}" type="sibTrans" cxnId="{0376D2BA-EE8B-4769-BC24-CC367BEE684B}">
      <dgm:prSet/>
      <dgm:spPr/>
      <dgm:t>
        <a:bodyPr/>
        <a:lstStyle/>
        <a:p>
          <a:endParaRPr lang="en-US">
            <a:solidFill>
              <a:schemeClr val="bg2"/>
            </a:solidFill>
          </a:endParaRPr>
        </a:p>
      </dgm:t>
    </dgm:pt>
    <dgm:pt modelId="{BDACD0F7-6180-4057-9453-3688A341F990}">
      <dgm:prSet phldrT="[Text]"/>
      <dgm:spPr/>
      <dgm:t>
        <a:bodyPr/>
        <a:lstStyle/>
        <a:p>
          <a:r>
            <a:rPr lang="en-US" dirty="0"/>
            <a:t>Data Lake</a:t>
          </a:r>
        </a:p>
      </dgm:t>
    </dgm:pt>
    <dgm:pt modelId="{E4F3B442-D426-4A43-9F5D-27BAB10F10CE}" type="parTrans" cxnId="{CBA447E9-10A8-4CB5-B5CE-0C5A8673E48E}">
      <dgm:prSet/>
      <dgm:spPr/>
      <dgm:t>
        <a:bodyPr/>
        <a:lstStyle/>
        <a:p>
          <a:endParaRPr lang="en-US">
            <a:solidFill>
              <a:schemeClr val="bg2"/>
            </a:solidFill>
          </a:endParaRPr>
        </a:p>
      </dgm:t>
    </dgm:pt>
    <dgm:pt modelId="{08AD188E-871E-4AED-AB11-9BCCFB042448}" type="sibTrans" cxnId="{CBA447E9-10A8-4CB5-B5CE-0C5A8673E48E}">
      <dgm:prSet/>
      <dgm:spPr/>
      <dgm:t>
        <a:bodyPr/>
        <a:lstStyle/>
        <a:p>
          <a:endParaRPr lang="en-US">
            <a:solidFill>
              <a:schemeClr val="bg2"/>
            </a:solidFill>
          </a:endParaRPr>
        </a:p>
      </dgm:t>
    </dgm:pt>
    <dgm:pt modelId="{AE3639C6-8C43-4F97-BE23-F9306E299CF9}">
      <dgm:prSet phldrT="[Text]"/>
      <dgm:spPr/>
      <dgm:t>
        <a:bodyPr/>
        <a:lstStyle/>
        <a:p>
          <a:r>
            <a:rPr lang="en-US" dirty="0"/>
            <a:t>Azure Storage</a:t>
          </a:r>
        </a:p>
      </dgm:t>
    </dgm:pt>
    <dgm:pt modelId="{1CDD6596-67E1-4C59-93B1-01CBD19A6B8E}" type="parTrans" cxnId="{FC23BA64-5B04-4EF8-9326-D5B528E0ACB8}">
      <dgm:prSet/>
      <dgm:spPr/>
      <dgm:t>
        <a:bodyPr/>
        <a:lstStyle/>
        <a:p>
          <a:endParaRPr lang="en-US">
            <a:solidFill>
              <a:schemeClr val="bg2"/>
            </a:solidFill>
          </a:endParaRPr>
        </a:p>
      </dgm:t>
    </dgm:pt>
    <dgm:pt modelId="{B586966D-EDF9-4827-9CA3-63AB3D2E71A7}" type="sibTrans" cxnId="{FC23BA64-5B04-4EF8-9326-D5B528E0ACB8}">
      <dgm:prSet/>
      <dgm:spPr/>
      <dgm:t>
        <a:bodyPr/>
        <a:lstStyle/>
        <a:p>
          <a:endParaRPr lang="en-US">
            <a:solidFill>
              <a:schemeClr val="bg2"/>
            </a:solidFill>
          </a:endParaRPr>
        </a:p>
      </dgm:t>
    </dgm:pt>
    <dgm:pt modelId="{35F0567E-236D-4971-8C0A-709AAD1BC349}">
      <dgm:prSet phldrT="[Text]"/>
      <dgm:spPr/>
      <dgm:t>
        <a:bodyPr/>
        <a:lstStyle/>
        <a:p>
          <a:r>
            <a:rPr lang="en-US" dirty="0"/>
            <a:t>Stream Analytics</a:t>
          </a:r>
        </a:p>
      </dgm:t>
    </dgm:pt>
    <dgm:pt modelId="{7F62CFBA-4322-4F9F-BCFE-83C4491AC94C}" type="parTrans" cxnId="{096FE25D-ED43-48A2-ACA8-20A40F77FC31}">
      <dgm:prSet/>
      <dgm:spPr/>
      <dgm:t>
        <a:bodyPr/>
        <a:lstStyle/>
        <a:p>
          <a:endParaRPr lang="en-US">
            <a:solidFill>
              <a:schemeClr val="bg2"/>
            </a:solidFill>
          </a:endParaRPr>
        </a:p>
      </dgm:t>
    </dgm:pt>
    <dgm:pt modelId="{F8351DC9-FCD8-42B5-94E0-1FB511B25936}" type="sibTrans" cxnId="{096FE25D-ED43-48A2-ACA8-20A40F77FC31}">
      <dgm:prSet/>
      <dgm:spPr/>
      <dgm:t>
        <a:bodyPr/>
        <a:lstStyle/>
        <a:p>
          <a:endParaRPr lang="en-US">
            <a:solidFill>
              <a:schemeClr val="bg2"/>
            </a:solidFill>
          </a:endParaRPr>
        </a:p>
      </dgm:t>
    </dgm:pt>
    <dgm:pt modelId="{F2465E65-C3E0-423D-B60A-CBBB12166DD6}">
      <dgm:prSet phldrT="[Text]"/>
      <dgm:spPr/>
      <dgm:t>
        <a:bodyPr/>
        <a:lstStyle/>
        <a:p>
          <a:r>
            <a:rPr lang="en-US" dirty="0"/>
            <a:t>Analysis Services</a:t>
          </a:r>
        </a:p>
      </dgm:t>
    </dgm:pt>
    <dgm:pt modelId="{D8845806-1D9D-4617-BBFA-FEA4939FF747}" type="parTrans" cxnId="{EDADB58C-AA26-476F-93FF-0704938DA538}">
      <dgm:prSet/>
      <dgm:spPr/>
      <dgm:t>
        <a:bodyPr/>
        <a:lstStyle/>
        <a:p>
          <a:endParaRPr lang="en-US">
            <a:solidFill>
              <a:schemeClr val="bg2"/>
            </a:solidFill>
          </a:endParaRPr>
        </a:p>
      </dgm:t>
    </dgm:pt>
    <dgm:pt modelId="{D6A1219B-E8CC-45FE-9E0F-99D20A856F7B}" type="sibTrans" cxnId="{EDADB58C-AA26-476F-93FF-0704938DA538}">
      <dgm:prSet/>
      <dgm:spPr/>
      <dgm:t>
        <a:bodyPr/>
        <a:lstStyle/>
        <a:p>
          <a:endParaRPr lang="en-US">
            <a:solidFill>
              <a:schemeClr val="bg2"/>
            </a:solidFill>
          </a:endParaRPr>
        </a:p>
      </dgm:t>
    </dgm:pt>
    <dgm:pt modelId="{DAB3F281-7B4F-49EC-8DF2-6797D69BDC56}">
      <dgm:prSet phldrT="[Text]"/>
      <dgm:spPr/>
      <dgm:t>
        <a:bodyPr/>
        <a:lstStyle/>
        <a:p>
          <a:r>
            <a:rPr lang="en-US" dirty="0"/>
            <a:t>Power BI</a:t>
          </a:r>
        </a:p>
      </dgm:t>
    </dgm:pt>
    <dgm:pt modelId="{6F984231-54E7-4CD8-B215-1F4C16DFC2F6}" type="parTrans" cxnId="{F94D4C84-D729-4065-B367-BAFC045EF498}">
      <dgm:prSet/>
      <dgm:spPr/>
      <dgm:t>
        <a:bodyPr/>
        <a:lstStyle/>
        <a:p>
          <a:endParaRPr lang="en-US">
            <a:solidFill>
              <a:schemeClr val="bg2"/>
            </a:solidFill>
          </a:endParaRPr>
        </a:p>
      </dgm:t>
    </dgm:pt>
    <dgm:pt modelId="{C69C4E7A-EC62-4329-8F2E-1F4E0F7537C2}" type="sibTrans" cxnId="{F94D4C84-D729-4065-B367-BAFC045EF498}">
      <dgm:prSet/>
      <dgm:spPr/>
      <dgm:t>
        <a:bodyPr/>
        <a:lstStyle/>
        <a:p>
          <a:endParaRPr lang="en-US">
            <a:solidFill>
              <a:schemeClr val="bg2"/>
            </a:solidFill>
          </a:endParaRPr>
        </a:p>
      </dgm:t>
    </dgm:pt>
    <dgm:pt modelId="{715ABCDD-7748-47FB-9152-0DE37D243758}">
      <dgm:prSet phldrT="[Text]"/>
      <dgm:spPr/>
      <dgm:t>
        <a:bodyPr/>
        <a:lstStyle/>
        <a:p>
          <a:r>
            <a:rPr lang="en-US" dirty="0"/>
            <a:t>R</a:t>
          </a:r>
        </a:p>
      </dgm:t>
    </dgm:pt>
    <dgm:pt modelId="{A4CDED56-308B-497B-BDAA-89BF5C12FE1C}" type="parTrans" cxnId="{0DFFAD90-2F9A-46A3-89E6-68A064766737}">
      <dgm:prSet/>
      <dgm:spPr/>
      <dgm:t>
        <a:bodyPr/>
        <a:lstStyle/>
        <a:p>
          <a:endParaRPr lang="en-US">
            <a:solidFill>
              <a:schemeClr val="bg2"/>
            </a:solidFill>
          </a:endParaRPr>
        </a:p>
      </dgm:t>
    </dgm:pt>
    <dgm:pt modelId="{60C13AFB-01B2-443D-B8DC-431B4AE659EC}" type="sibTrans" cxnId="{0DFFAD90-2F9A-46A3-89E6-68A064766737}">
      <dgm:prSet/>
      <dgm:spPr/>
      <dgm:t>
        <a:bodyPr/>
        <a:lstStyle/>
        <a:p>
          <a:endParaRPr lang="en-US">
            <a:solidFill>
              <a:schemeClr val="bg2"/>
            </a:solidFill>
          </a:endParaRPr>
        </a:p>
      </dgm:t>
    </dgm:pt>
    <dgm:pt modelId="{8C2B2478-3DF9-4134-955A-49E9307C40B0}">
      <dgm:prSet phldrT="[Text]"/>
      <dgm:spPr/>
      <dgm:t>
        <a:bodyPr/>
        <a:lstStyle/>
        <a:p>
          <a:r>
            <a:rPr lang="en-US" dirty="0"/>
            <a:t>Templates and Gallery</a:t>
          </a:r>
        </a:p>
      </dgm:t>
    </dgm:pt>
    <dgm:pt modelId="{5B180C60-8273-4432-91C5-E4FBCD533558}" type="parTrans" cxnId="{B49A0BCF-26F9-4C92-9C5F-6F0EBA685DDD}">
      <dgm:prSet/>
      <dgm:spPr/>
      <dgm:t>
        <a:bodyPr/>
        <a:lstStyle/>
        <a:p>
          <a:endParaRPr lang="en-US">
            <a:solidFill>
              <a:schemeClr val="bg2"/>
            </a:solidFill>
          </a:endParaRPr>
        </a:p>
      </dgm:t>
    </dgm:pt>
    <dgm:pt modelId="{A7058E5A-5C03-4574-8AB8-5DCA8E545176}" type="sibTrans" cxnId="{B49A0BCF-26F9-4C92-9C5F-6F0EBA685DDD}">
      <dgm:prSet/>
      <dgm:spPr/>
      <dgm:t>
        <a:bodyPr/>
        <a:lstStyle/>
        <a:p>
          <a:endParaRPr lang="en-US">
            <a:solidFill>
              <a:schemeClr val="bg2"/>
            </a:solidFill>
          </a:endParaRPr>
        </a:p>
      </dgm:t>
    </dgm:pt>
    <dgm:pt modelId="{205502BB-E218-4F43-94ED-38D373921869}">
      <dgm:prSet phldrT="[Text]"/>
      <dgm:spPr/>
      <dgm:t>
        <a:bodyPr/>
        <a:lstStyle/>
        <a:p>
          <a:r>
            <a:rPr lang="en-US" dirty="0"/>
            <a:t>Machine Learning</a:t>
          </a:r>
        </a:p>
      </dgm:t>
    </dgm:pt>
    <dgm:pt modelId="{E43973A5-6F63-4CBC-9CA1-AA1E0C16AAF7}" type="parTrans" cxnId="{8597440F-C7F1-464F-83C3-E22D6643DA1A}">
      <dgm:prSet/>
      <dgm:spPr/>
      <dgm:t>
        <a:bodyPr/>
        <a:lstStyle/>
        <a:p>
          <a:endParaRPr lang="en-US">
            <a:solidFill>
              <a:schemeClr val="bg2"/>
            </a:solidFill>
          </a:endParaRPr>
        </a:p>
      </dgm:t>
    </dgm:pt>
    <dgm:pt modelId="{09A953C8-FBF8-4924-B96E-D12A550857DE}" type="sibTrans" cxnId="{8597440F-C7F1-464F-83C3-E22D6643DA1A}">
      <dgm:prSet/>
      <dgm:spPr/>
      <dgm:t>
        <a:bodyPr/>
        <a:lstStyle/>
        <a:p>
          <a:endParaRPr lang="en-US">
            <a:solidFill>
              <a:schemeClr val="bg2"/>
            </a:solidFill>
          </a:endParaRPr>
        </a:p>
      </dgm:t>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05397C05-3613-4ED9-957F-64F627A094DF}" type="presOf" srcId="{E676A21A-338A-453B-AAD8-AE1E2984352F}" destId="{86E21F88-7726-4B6A-8AA4-50C3FB4AC66D}" srcOrd="0" destOrd="2" presId="urn:diagrams.loki3.com/BracketList"/>
    <dgm:cxn modelId="{B3DD820B-3AA4-4A6C-9F64-C25D87901740}" srcId="{EA313893-4865-4D2A-B411-A9583C447998}" destId="{409B9CC3-4843-4F1F-8DB8-96CB6DDF3AA2}" srcOrd="4" destOrd="0" parTransId="{77CCCA81-853E-493E-9B0C-4E6584C3068A}" sibTransId="{836C109C-9A6E-440E-B4AC-6BC1096CC572}"/>
    <dgm:cxn modelId="{8597440F-C7F1-464F-83C3-E22D6643DA1A}" srcId="{83035B10-5B03-4E94-B998-54AE7C044928}" destId="{205502BB-E218-4F43-94ED-38D373921869}" srcOrd="1" destOrd="0" parTransId="{E43973A5-6F63-4CBC-9CA1-AA1E0C16AAF7}" sibTransId="{09A953C8-FBF8-4924-B96E-D12A550857DE}"/>
    <dgm:cxn modelId="{6DD99C19-56AA-4709-A58E-46408FE3988F}" type="presOf" srcId="{B7ABE164-295C-4643-A9AC-4A52A9ED0489}" destId="{82E9A0E0-8D14-4848-9DD2-59E0CDC0AAFD}" srcOrd="0" destOrd="0" presId="urn:diagrams.loki3.com/BracketList"/>
    <dgm:cxn modelId="{F0748B1E-69F6-4D72-AC7C-1FCD73A7DC1C}" srcId="{EA313893-4865-4D2A-B411-A9583C447998}" destId="{B7ABE164-295C-4643-A9AC-4A52A9ED0489}" srcOrd="1" destOrd="0" parTransId="{D7B9EDA9-31A9-4C9B-BACF-788F74E16796}" sibTransId="{E258CD5B-DCF5-4FA1-918A-96BF68D81660}"/>
    <dgm:cxn modelId="{11E28022-DADB-4978-9EF7-42B3F338CC6C}" type="presOf" srcId="{AE3639C6-8C43-4F97-BE23-F9306E299CF9}" destId="{86E21F88-7726-4B6A-8AA4-50C3FB4AC66D}" srcOrd="0" destOrd="0" presId="urn:diagrams.loki3.com/BracketList"/>
    <dgm:cxn modelId="{0D5E2526-C15C-40F5-B9D1-48E2D92EC504}" type="presOf" srcId="{C435CE00-F12B-4E1E-88D5-230CB3206998}" destId="{9175424E-612A-4B72-89CD-0EFDADCFDD1F}" srcOrd="0" destOrd="0" presId="urn:diagrams.loki3.com/BracketList"/>
    <dgm:cxn modelId="{6621DB28-19D2-4317-A7D4-C1E229BDD2C3}" srcId="{B7ABE164-295C-4643-A9AC-4A52A9ED0489}" destId="{F29C4E01-C09B-438C-9113-B6E9FF5DFD38}" srcOrd="1" destOrd="0" parTransId="{2AE4FD27-8C8C-45AE-955D-C6687931D935}" sibTransId="{04836762-099A-4108-A61E-F6DA35680CF1}"/>
    <dgm:cxn modelId="{DF2F8029-1771-4247-B24D-AF2BCCBCC640}" type="presOf" srcId="{205502BB-E218-4F43-94ED-38D373921869}" destId="{603689CA-F9E4-44EC-B527-50FB539B823D}" srcOrd="0" destOrd="1" presId="urn:diagrams.loki3.com/BracketList"/>
    <dgm:cxn modelId="{6F44A232-4FBE-4A74-8103-CA7CA054FD2C}" type="presOf" srcId="{DAB3F281-7B4F-49EC-8DF2-6797D69BDC56}" destId="{F2B5D16A-6048-4E1D-9634-1D2AF0A2F256}" srcOrd="0" destOrd="0" presId="urn:diagrams.loki3.com/BracketList"/>
    <dgm:cxn modelId="{73CC5835-AA42-457E-A12B-17481BEF9838}" type="presOf" srcId="{2C858D8A-BD5E-4943-AC97-3FD818D142DE}" destId="{9175424E-612A-4B72-89CD-0EFDADCFDD1F}" srcOrd="0" destOrd="2" presId="urn:diagrams.loki3.com/BracketList"/>
    <dgm:cxn modelId="{01514636-B3E4-40B9-BA91-B1B09337B347}" type="presOf" srcId="{F29C4E01-C09B-438C-9113-B6E9FF5DFD38}" destId="{86E21F88-7726-4B6A-8AA4-50C3FB4AC66D}" srcOrd="0" destOrd="1" presId="urn:diagrams.loki3.com/BracketList"/>
    <dgm:cxn modelId="{096FE25D-ED43-48A2-ACA8-20A40F77FC31}" srcId="{83035B10-5B03-4E94-B998-54AE7C044928}" destId="{35F0567E-236D-4971-8C0A-709AAD1BC349}" srcOrd="4" destOrd="0" parTransId="{7F62CFBA-4322-4F9F-BCFE-83C4491AC94C}" sibTransId="{F8351DC9-FCD8-42B5-94E0-1FB511B25936}"/>
    <dgm:cxn modelId="{6DDA035E-790C-4A1F-AE26-24F19A00AF4A}" type="presOf" srcId="{50C37763-24F8-4AA8-A32B-9F9CA6D119D6}" destId="{603689CA-F9E4-44EC-B527-50FB539B823D}" srcOrd="0" destOrd="0" presId="urn:diagrams.loki3.com/BracketList"/>
    <dgm:cxn modelId="{04460660-F378-459A-9A2B-E3E0592F3242}" type="presOf" srcId="{5C0E0F60-874D-4767-AE2F-74FB881F036A}" destId="{86E21F88-7726-4B6A-8AA4-50C3FB4AC66D}" srcOrd="0" destOrd="3" presId="urn:diagrams.loki3.com/BracketList"/>
    <dgm:cxn modelId="{71A2D341-AA26-4666-9932-B4140F5EF1FE}" srcId="{EA313893-4865-4D2A-B411-A9583C447998}" destId="{FAB16A03-BE56-456B-A536-11D2B059B184}" srcOrd="3" destOrd="0" parTransId="{E696F496-5F4D-42CD-9F72-E43FD3C8193B}" sibTransId="{F52C13CC-48BB-4B43-924B-37454BDA68A7}"/>
    <dgm:cxn modelId="{E415D443-6379-4CD8-AB97-3FE6FD0F4592}" type="presOf" srcId="{715ABCDD-7748-47FB-9152-0DE37D243758}" destId="{F2B5D16A-6048-4E1D-9634-1D2AF0A2F256}" srcOrd="0" destOrd="1" presId="urn:diagrams.loki3.com/BracketList"/>
    <dgm:cxn modelId="{FC23BA64-5B04-4EF8-9326-D5B528E0ACB8}" srcId="{B7ABE164-295C-4643-A9AC-4A52A9ED0489}" destId="{AE3639C6-8C43-4F97-BE23-F9306E299CF9}" srcOrd="0" destOrd="0" parTransId="{1CDD6596-67E1-4C59-93B1-01CBD19A6B8E}" sibTransId="{B586966D-EDF9-4827-9CA3-63AB3D2E71A7}"/>
    <dgm:cxn modelId="{1388CB44-D3BD-4172-A856-4508ADCD1F7B}" srcId="{AE188517-6F02-4DC7-9EA1-785FA319F063}" destId="{2C858D8A-BD5E-4943-AC97-3FD818D142DE}" srcOrd="2" destOrd="0" parTransId="{7AF921C9-184C-4D38-ADA9-B898BB7C86C3}" sibTransId="{FCFEDC75-2A47-4FA0-A695-73D0EBC2EB13}"/>
    <dgm:cxn modelId="{34C39845-C590-493A-877C-951628E8E8F0}" type="presOf" srcId="{83035B10-5B03-4E94-B998-54AE7C044928}" destId="{06464D07-8B60-462A-8EC4-545BAA8C97B1}" srcOrd="0" destOrd="0" presId="urn:diagrams.loki3.com/BracketList"/>
    <dgm:cxn modelId="{726A266A-96C5-42ED-93FB-3116EF24E56C}" type="presOf" srcId="{FAB16A03-BE56-456B-A536-11D2B059B184}" destId="{975FEC36-CD0E-4BA1-9445-37B05FFD96CD}" srcOrd="0" destOrd="0" presId="urn:diagrams.loki3.com/BracketList"/>
    <dgm:cxn modelId="{90332A73-B2D0-48BB-8BEC-2F446E08968F}" srcId="{B7ABE164-295C-4643-A9AC-4A52A9ED0489}" destId="{5C0E0F60-874D-4767-AE2F-74FB881F036A}" srcOrd="3" destOrd="0" parTransId="{F7E90F27-6C0A-42E0-AF46-1B02D03EFEE8}" sibTransId="{4382FA18-74BA-4683-8DEF-EA290B0298B3}"/>
    <dgm:cxn modelId="{A1274A7F-CF88-49BE-AD7B-B72D81B5E439}" type="presOf" srcId="{35F0567E-236D-4971-8C0A-709AAD1BC349}" destId="{603689CA-F9E4-44EC-B527-50FB539B823D}" srcOrd="0" destOrd="4" presId="urn:diagrams.loki3.com/BracketList"/>
    <dgm:cxn modelId="{1B885F82-B84C-4695-AECA-80418A5B7E71}" type="presOf" srcId="{EA313893-4865-4D2A-B411-A9583C447998}" destId="{2B91DE99-FB3D-40B9-9827-F76B61DF0C13}" srcOrd="0" destOrd="0" presId="urn:diagrams.loki3.com/BracketList"/>
    <dgm:cxn modelId="{F94D4C84-D729-4065-B367-BAFC045EF498}" srcId="{FAB16A03-BE56-456B-A536-11D2B059B184}" destId="{DAB3F281-7B4F-49EC-8DF2-6797D69BDC56}" srcOrd="0" destOrd="0" parTransId="{6F984231-54E7-4CD8-B215-1F4C16DFC2F6}" sibTransId="{C69C4E7A-EC62-4329-8F2E-1F4E0F7537C2}"/>
    <dgm:cxn modelId="{EDADB58C-AA26-476F-93FF-0704938DA538}" srcId="{83035B10-5B03-4E94-B998-54AE7C044928}" destId="{F2465E65-C3E0-423D-B60A-CBBB12166DD6}" srcOrd="5" destOrd="0" parTransId="{D8845806-1D9D-4617-BBFA-FEA4939FF747}" sibTransId="{D6A1219B-E8CC-45FE-9E0F-99D20A856F7B}"/>
    <dgm:cxn modelId="{0DFFAD90-2F9A-46A3-89E6-68A064766737}" srcId="{FAB16A03-BE56-456B-A536-11D2B059B184}" destId="{715ABCDD-7748-47FB-9152-0DE37D243758}" srcOrd="1" destOrd="0" parTransId="{A4CDED56-308B-497B-BDAA-89BF5C12FE1C}" sibTransId="{60C13AFB-01B2-443D-B8DC-431B4AE659EC}"/>
    <dgm:cxn modelId="{2693BB9E-F2CD-4F85-AA3F-0D8505E9CD15}" srcId="{B7ABE164-295C-4643-A9AC-4A52A9ED0489}" destId="{E676A21A-338A-453B-AAD8-AE1E2984352F}" srcOrd="2" destOrd="0" parTransId="{5E57A9C1-04A6-49D4-AC5A-3AAB86452FC4}" sibTransId="{5A93F642-2A8F-4AA8-91EA-8C5E73BCE0E6}"/>
    <dgm:cxn modelId="{24E599A1-6729-4099-9255-88D181B968CF}" srcId="{EA313893-4865-4D2A-B411-A9583C447998}" destId="{AE188517-6F02-4DC7-9EA1-785FA319F063}" srcOrd="0" destOrd="0" parTransId="{74848A57-88CA-4171-BA55-469D8EB40C4E}" sibTransId="{568BD935-8EC2-4B1C-BF6A-A8560483E10B}"/>
    <dgm:cxn modelId="{3F672BA3-6B08-4E41-B0B1-EE48C70A6F7D}" type="presOf" srcId="{E0ED33B9-E057-48E4-9E71-165921651D87}" destId="{9175424E-612A-4B72-89CD-0EFDADCFDD1F}" srcOrd="0" destOrd="1" presId="urn:diagrams.loki3.com/BracketList"/>
    <dgm:cxn modelId="{601D92B6-4F88-4704-8384-4B4737DC3EC7}" type="presOf" srcId="{F2465E65-C3E0-423D-B60A-CBBB12166DD6}" destId="{603689CA-F9E4-44EC-B527-50FB539B823D}" srcOrd="0" destOrd="5" presId="urn:diagrams.loki3.com/BracketList"/>
    <dgm:cxn modelId="{0376D2BA-EE8B-4769-BC24-CC367BEE684B}" srcId="{83035B10-5B03-4E94-B998-54AE7C044928}" destId="{32CACD8F-92CC-4EB0-82A5-ED325E9C0DCF}" srcOrd="2" destOrd="0" parTransId="{A21F767D-FDA7-4106-99A9-F43109D327CE}" sibTransId="{D9DF8C18-8AD5-4792-BADC-2960152A17B4}"/>
    <dgm:cxn modelId="{147B58C2-DB15-4ED7-BAAA-B08374A5C799}" srcId="{83035B10-5B03-4E94-B998-54AE7C044928}" destId="{50C37763-24F8-4AA8-A32B-9F9CA6D119D6}" srcOrd="0" destOrd="0" parTransId="{F0D5E2E7-679F-4720-9577-5CD05DCDE746}" sibTransId="{49958AA6-4ED7-42C4-90F9-E8289337C9E3}"/>
    <dgm:cxn modelId="{F5977DCA-FCBA-4F37-ADC2-A8184D8E3430}" srcId="{AE188517-6F02-4DC7-9EA1-785FA319F063}" destId="{E0ED33B9-E057-48E4-9E71-165921651D87}" srcOrd="1" destOrd="0" parTransId="{8F5638B8-B583-4EA8-8527-E5F16E143838}" sibTransId="{51F416F3-006F-4031-AE82-2898447A66EE}"/>
    <dgm:cxn modelId="{079F09CF-DCE9-434C-8F2E-1D1CEF9AE618}" srcId="{EA313893-4865-4D2A-B411-A9583C447998}" destId="{83035B10-5B03-4E94-B998-54AE7C044928}" srcOrd="2" destOrd="0" parTransId="{29EAADE1-28CA-4B2F-9D08-E28BE3C336C9}" sibTransId="{CCAFAB26-9A3D-4842-B88A-B85DA7E92A54}"/>
    <dgm:cxn modelId="{B49A0BCF-26F9-4C92-9C5F-6F0EBA685DDD}" srcId="{409B9CC3-4843-4F1F-8DB8-96CB6DDF3AA2}" destId="{8C2B2478-3DF9-4134-955A-49E9307C40B0}" srcOrd="0" destOrd="0" parTransId="{5B180C60-8273-4432-91C5-E4FBCD533558}" sibTransId="{A7058E5A-5C03-4574-8AB8-5DCA8E545176}"/>
    <dgm:cxn modelId="{8C5358D7-12B8-4F5D-B86E-CCC731DF2ED5}" type="presOf" srcId="{409B9CC3-4843-4F1F-8DB8-96CB6DDF3AA2}" destId="{FD528662-2E78-46C5-AFEC-7596999AE27A}" srcOrd="0" destOrd="0" presId="urn:diagrams.loki3.com/BracketList"/>
    <dgm:cxn modelId="{D55887DD-0AA0-4CF4-B6DC-656DD41FC027}" type="presOf" srcId="{BDACD0F7-6180-4057-9453-3688A341F990}" destId="{603689CA-F9E4-44EC-B527-50FB539B823D}" srcOrd="0" destOrd="3" presId="urn:diagrams.loki3.com/BracketList"/>
    <dgm:cxn modelId="{67EF5EE5-3804-4D77-A770-4862443CBA60}" type="presOf" srcId="{8C2B2478-3DF9-4134-955A-49E9307C40B0}" destId="{8201724E-AC5F-494D-BB50-B7D7A454D657}" srcOrd="0" destOrd="0" presId="urn:diagrams.loki3.com/BracketList"/>
    <dgm:cxn modelId="{1CD85CE6-891A-4559-8C6A-B2B8D10777A3}" srcId="{AE188517-6F02-4DC7-9EA1-785FA319F063}" destId="{C435CE00-F12B-4E1E-88D5-230CB3206998}" srcOrd="0" destOrd="0" parTransId="{F9EB0DCC-9309-46BE-A5F1-946925EF213F}" sibTransId="{0CEF2004-E424-4306-81CF-77EC267D4144}"/>
    <dgm:cxn modelId="{EE0BA7E7-C37C-49A0-A211-E21D312230C5}" type="presOf" srcId="{AE188517-6F02-4DC7-9EA1-785FA319F063}" destId="{C8FB2B8E-8EB9-462C-A3BE-B343DF2940CF}" srcOrd="0" destOrd="0" presId="urn:diagrams.loki3.com/BracketList"/>
    <dgm:cxn modelId="{CBA447E9-10A8-4CB5-B5CE-0C5A8673E48E}" srcId="{83035B10-5B03-4E94-B998-54AE7C044928}" destId="{BDACD0F7-6180-4057-9453-3688A341F990}" srcOrd="3" destOrd="0" parTransId="{E4F3B442-D426-4A43-9F5D-27BAB10F10CE}" sibTransId="{08AD188E-871E-4AED-AB11-9BCCFB042448}"/>
    <dgm:cxn modelId="{9272B7FC-378B-4B83-9588-83966691943A}" type="presOf" srcId="{32CACD8F-92CC-4EB0-82A5-ED325E9C0DCF}" destId="{603689CA-F9E4-44EC-B527-50FB539B823D}" srcOrd="0" destOrd="2" presId="urn:diagrams.loki3.com/BracketList"/>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F86B76B-4D25-48D0-9D7B-39A830F7D6BC}" type="doc">
      <dgm:prSet loTypeId="urn:microsoft.com/office/officeart/2005/8/layout/bList2" loCatId="list" qsTypeId="urn:microsoft.com/office/officeart/2005/8/quickstyle/simple1" qsCatId="simple" csTypeId="urn:microsoft.com/office/officeart/2005/8/colors/accent1_1" csCatId="accent1" phldr="1"/>
      <dgm:spPr/>
    </dgm:pt>
    <dgm:pt modelId="{FD07E91C-7046-43AA-B707-9B569F93A4ED}">
      <dgm:prSet phldrT="[Text]" custT="1"/>
      <dgm:spPr/>
      <dgm:t>
        <a:bodyPr/>
        <a:lstStyle/>
        <a:p>
          <a:r>
            <a:rPr lang="en-US" sz="2200" b="0" dirty="0"/>
            <a:t>Deployment</a:t>
          </a:r>
        </a:p>
      </dgm:t>
    </dgm:pt>
    <dgm:pt modelId="{259B1B7D-FCFD-4A90-946C-6BDA3837307F}" type="parTrans" cxnId="{06A1BA16-A715-4CF5-9482-F7C9CA81076D}">
      <dgm:prSet/>
      <dgm:spPr/>
      <dgm:t>
        <a:bodyPr/>
        <a:lstStyle/>
        <a:p>
          <a:endParaRPr lang="en-US"/>
        </a:p>
      </dgm:t>
    </dgm:pt>
    <dgm:pt modelId="{E412A020-3511-4A7A-8663-0AFBEDD8CBD9}" type="sibTrans" cxnId="{06A1BA16-A715-4CF5-9482-F7C9CA81076D}">
      <dgm:prSet/>
      <dgm:spPr/>
      <dgm:t>
        <a:bodyPr/>
        <a:lstStyle/>
        <a:p>
          <a:endParaRPr lang="en-US"/>
        </a:p>
      </dgm:t>
    </dgm:pt>
    <dgm:pt modelId="{BB06A51A-E5C3-4815-9A8A-26A9C315F2C9}">
      <dgm:prSet phldrT="[Text]" custT="1"/>
      <dgm:spPr/>
      <dgm:t>
        <a:bodyPr/>
        <a:lstStyle/>
        <a:p>
          <a:r>
            <a:rPr lang="en-US" sz="2400" b="0" dirty="0"/>
            <a:t>Tooling</a:t>
          </a:r>
          <a:r>
            <a:rPr lang="en-US" sz="1800" b="0" dirty="0"/>
            <a:t> </a:t>
          </a:r>
        </a:p>
      </dgm:t>
    </dgm:pt>
    <dgm:pt modelId="{3B1A6EF0-EDC6-4F66-8B33-1341E176D8C1}" type="parTrans" cxnId="{61A15875-801D-4922-B416-70F4FFAD4EA5}">
      <dgm:prSet/>
      <dgm:spPr/>
      <dgm:t>
        <a:bodyPr/>
        <a:lstStyle/>
        <a:p>
          <a:endParaRPr lang="en-US"/>
        </a:p>
      </dgm:t>
    </dgm:pt>
    <dgm:pt modelId="{9F92ED19-1724-43E6-95B0-EF6C9BED8AE0}" type="sibTrans" cxnId="{61A15875-801D-4922-B416-70F4FFAD4EA5}">
      <dgm:prSet/>
      <dgm:spPr/>
      <dgm:t>
        <a:bodyPr/>
        <a:lstStyle/>
        <a:p>
          <a:endParaRPr lang="en-US"/>
        </a:p>
      </dgm:t>
    </dgm:pt>
    <dgm:pt modelId="{ADFEDC73-2B2E-43C0-AD58-725D1DCF174E}">
      <dgm:prSet phldrT="[Text]" custT="1"/>
      <dgm:spPr/>
      <dgm:t>
        <a:bodyPr/>
        <a:lstStyle/>
        <a:p>
          <a:r>
            <a:rPr lang="en-US" sz="2000" b="0" dirty="0"/>
            <a:t>Facilities and Regions</a:t>
          </a:r>
        </a:p>
      </dgm:t>
    </dgm:pt>
    <dgm:pt modelId="{49E9D818-2678-4347-B551-422D01E8C3E3}" type="parTrans" cxnId="{6CB8F1F9-9E69-4E00-B8C0-9A547B0570E1}">
      <dgm:prSet/>
      <dgm:spPr/>
      <dgm:t>
        <a:bodyPr/>
        <a:lstStyle/>
        <a:p>
          <a:endParaRPr lang="en-US"/>
        </a:p>
      </dgm:t>
    </dgm:pt>
    <dgm:pt modelId="{6A8ADEC0-2A0D-4067-9DA1-C9A0DDF26CEA}" type="sibTrans" cxnId="{6CB8F1F9-9E69-4E00-B8C0-9A547B0570E1}">
      <dgm:prSet/>
      <dgm:spPr/>
      <dgm:t>
        <a:bodyPr/>
        <a:lstStyle/>
        <a:p>
          <a:endParaRPr lang="en-US"/>
        </a:p>
      </dgm:t>
    </dgm:pt>
    <dgm:pt modelId="{839741EB-AF70-4F04-8CE1-CB6A354BDA2D}">
      <dgm:prSet phldrT="[Text]" custT="1"/>
      <dgm:spPr/>
      <dgm:t>
        <a:bodyPr/>
        <a:lstStyle/>
        <a:p>
          <a:r>
            <a:rPr lang="en-US" sz="2000" b="0" dirty="0"/>
            <a:t>Resource Grouping</a:t>
          </a:r>
        </a:p>
      </dgm:t>
    </dgm:pt>
    <dgm:pt modelId="{01DE0FEF-9F58-4FED-835A-FCF288F7D0C3}" type="parTrans" cxnId="{EC0D32F2-F017-4128-A51A-1F706151257D}">
      <dgm:prSet/>
      <dgm:spPr/>
      <dgm:t>
        <a:bodyPr/>
        <a:lstStyle/>
        <a:p>
          <a:endParaRPr lang="en-US"/>
        </a:p>
      </dgm:t>
    </dgm:pt>
    <dgm:pt modelId="{D6544E59-53C7-4362-82D3-269E2EFD0C4B}" type="sibTrans" cxnId="{EC0D32F2-F017-4128-A51A-1F706151257D}">
      <dgm:prSet/>
      <dgm:spPr/>
      <dgm:t>
        <a:bodyPr/>
        <a:lstStyle/>
        <a:p>
          <a:endParaRPr lang="en-US"/>
        </a:p>
      </dgm:t>
    </dgm:pt>
    <dgm:pt modelId="{7D7BEADE-5062-48DE-94DE-BDA19850E310}">
      <dgm:prSet phldrT="[Text]" custT="1"/>
      <dgm:spPr/>
      <dgm:t>
        <a:bodyPr/>
        <a:lstStyle/>
        <a:p>
          <a:r>
            <a:rPr lang="en-US" sz="2400" dirty="0"/>
            <a:t>Safety</a:t>
          </a:r>
          <a:endParaRPr lang="en-US" sz="1600" dirty="0"/>
        </a:p>
      </dgm:t>
    </dgm:pt>
    <dgm:pt modelId="{B0775E2E-0E0A-416F-990E-D6226B6F5F79}" type="parTrans" cxnId="{48899838-E1AB-49ED-BA6B-A42210AFE78E}">
      <dgm:prSet/>
      <dgm:spPr/>
      <dgm:t>
        <a:bodyPr/>
        <a:lstStyle/>
        <a:p>
          <a:endParaRPr lang="en-US"/>
        </a:p>
      </dgm:t>
    </dgm:pt>
    <dgm:pt modelId="{3AEB83EA-4798-41AA-9117-F3038C37D71B}" type="sibTrans" cxnId="{48899838-E1AB-49ED-BA6B-A42210AFE78E}">
      <dgm:prSet/>
      <dgm:spPr/>
      <dgm:t>
        <a:bodyPr/>
        <a:lstStyle/>
        <a:p>
          <a:endParaRPr lang="en-US"/>
        </a:p>
      </dgm:t>
    </dgm:pt>
    <dgm:pt modelId="{CA1FB632-7D23-4C74-8661-3F621065FC5B}">
      <dgm:prSet phldrT="[Text]" custT="1"/>
      <dgm:spPr/>
      <dgm:t>
        <a:bodyPr/>
        <a:lstStyle/>
        <a:p>
          <a:r>
            <a:rPr lang="en-US" sz="2000" dirty="0"/>
            <a:t>Auditing and Reporting</a:t>
          </a:r>
        </a:p>
      </dgm:t>
    </dgm:pt>
    <dgm:pt modelId="{70B2F1C5-916C-44CA-90E1-7FEB2BAB3949}" type="parTrans" cxnId="{C33BDC2A-EC9B-4FE8-9B7A-01D07FC85B94}">
      <dgm:prSet/>
      <dgm:spPr/>
      <dgm:t>
        <a:bodyPr/>
        <a:lstStyle/>
        <a:p>
          <a:endParaRPr lang="en-US"/>
        </a:p>
      </dgm:t>
    </dgm:pt>
    <dgm:pt modelId="{E72DA594-5EF6-49EF-B7A8-761A72DFC525}" type="sibTrans" cxnId="{C33BDC2A-EC9B-4FE8-9B7A-01D07FC85B94}">
      <dgm:prSet/>
      <dgm:spPr/>
      <dgm:t>
        <a:bodyPr/>
        <a:lstStyle/>
        <a:p>
          <a:endParaRPr lang="en-US"/>
        </a:p>
      </dgm:t>
    </dgm:pt>
    <dgm:pt modelId="{1721E8E1-C089-4FFE-BBEE-283977BBB4E7}">
      <dgm:prSet phldrT="[Text]" custT="1"/>
      <dgm:spPr/>
      <dgm:t>
        <a:bodyPr/>
        <a:lstStyle/>
        <a:p>
          <a:r>
            <a:rPr lang="en-US" sz="1800" dirty="0"/>
            <a:t>Troubleshooting</a:t>
          </a:r>
        </a:p>
      </dgm:t>
    </dgm:pt>
    <dgm:pt modelId="{E8DDFD25-30B0-4F9A-9E7A-77729F0393E6}" type="parTrans" cxnId="{C28C3509-00A2-4FE5-AE23-B4E65A97FC62}">
      <dgm:prSet/>
      <dgm:spPr/>
      <dgm:t>
        <a:bodyPr/>
        <a:lstStyle/>
        <a:p>
          <a:endParaRPr lang="en-US"/>
        </a:p>
      </dgm:t>
    </dgm:pt>
    <dgm:pt modelId="{BBE17935-87EF-4663-BB5D-FF67800B3EDD}" type="sibTrans" cxnId="{C28C3509-00A2-4FE5-AE23-B4E65A97FC62}">
      <dgm:prSet/>
      <dgm:spPr/>
      <dgm:t>
        <a:bodyPr/>
        <a:lstStyle/>
        <a:p>
          <a:endParaRPr lang="en-US"/>
        </a:p>
      </dgm:t>
    </dgm:pt>
    <dgm:pt modelId="{5A40D569-A2CA-4DC5-8096-EB57FC79964E}">
      <dgm:prSet phldrT="[Text]"/>
      <dgm:spPr/>
      <dgm:t>
        <a:bodyPr/>
        <a:lstStyle/>
        <a:p>
          <a:r>
            <a:rPr lang="en-US" dirty="0"/>
            <a:t>Service creation and setup</a:t>
          </a:r>
        </a:p>
      </dgm:t>
    </dgm:pt>
    <dgm:pt modelId="{148A1BAE-D94C-4F65-8937-B26F380FCE9C}" type="parTrans" cxnId="{24F3CD28-0D20-49AC-BCD1-8FC6900ACB49}">
      <dgm:prSet/>
      <dgm:spPr/>
      <dgm:t>
        <a:bodyPr/>
        <a:lstStyle/>
        <a:p>
          <a:endParaRPr lang="en-US"/>
        </a:p>
      </dgm:t>
    </dgm:pt>
    <dgm:pt modelId="{27A97A85-62CE-4DC3-92D4-63A5935C3A59}" type="sibTrans" cxnId="{24F3CD28-0D20-49AC-BCD1-8FC6900ACB49}">
      <dgm:prSet/>
      <dgm:spPr/>
      <dgm:t>
        <a:bodyPr/>
        <a:lstStyle/>
        <a:p>
          <a:endParaRPr lang="en-US"/>
        </a:p>
      </dgm:t>
    </dgm:pt>
    <dgm:pt modelId="{3C0E2922-E9B9-40C8-A811-8CEEE3303084}">
      <dgm:prSet phldrT="[Text]"/>
      <dgm:spPr/>
      <dgm:t>
        <a:bodyPr/>
        <a:lstStyle/>
        <a:p>
          <a:r>
            <a:rPr lang="en-US" dirty="0"/>
            <a:t>Account security</a:t>
          </a:r>
        </a:p>
      </dgm:t>
    </dgm:pt>
    <dgm:pt modelId="{660AA7A1-3C51-4092-9406-183C6A636C90}" type="parTrans" cxnId="{8FB0A48B-5D26-4FDD-BC7E-6E12DCD81551}">
      <dgm:prSet/>
      <dgm:spPr/>
      <dgm:t>
        <a:bodyPr/>
        <a:lstStyle/>
        <a:p>
          <a:endParaRPr lang="en-US"/>
        </a:p>
      </dgm:t>
    </dgm:pt>
    <dgm:pt modelId="{A8915ADB-DF8A-4F42-A3DC-E28A17AECE58}" type="sibTrans" cxnId="{8FB0A48B-5D26-4FDD-BC7E-6E12DCD81551}">
      <dgm:prSet/>
      <dgm:spPr/>
      <dgm:t>
        <a:bodyPr/>
        <a:lstStyle/>
        <a:p>
          <a:endParaRPr lang="en-US"/>
        </a:p>
      </dgm:t>
    </dgm:pt>
    <dgm:pt modelId="{C70DC36B-8303-4652-8BF1-0D84A29FCFED}">
      <dgm:prSet phldrT="[Text]"/>
      <dgm:spPr/>
      <dgm:t>
        <a:bodyPr/>
        <a:lstStyle/>
        <a:p>
          <a:r>
            <a:rPr lang="en-US" dirty="0"/>
            <a:t>Cost management</a:t>
          </a:r>
        </a:p>
      </dgm:t>
    </dgm:pt>
    <dgm:pt modelId="{9C13C528-66CB-44F5-B93C-45BE5455BA2C}" type="parTrans" cxnId="{A49DC3F5-4B22-41D8-8A11-8D4ED29FC965}">
      <dgm:prSet/>
      <dgm:spPr/>
      <dgm:t>
        <a:bodyPr/>
        <a:lstStyle/>
        <a:p>
          <a:endParaRPr lang="en-US"/>
        </a:p>
      </dgm:t>
    </dgm:pt>
    <dgm:pt modelId="{F2A89874-3374-45FA-B8DF-6F716C7C2BAA}" type="sibTrans" cxnId="{A49DC3F5-4B22-41D8-8A11-8D4ED29FC965}">
      <dgm:prSet/>
      <dgm:spPr/>
      <dgm:t>
        <a:bodyPr/>
        <a:lstStyle/>
        <a:p>
          <a:endParaRPr lang="en-US"/>
        </a:p>
      </dgm:t>
    </dgm:pt>
    <dgm:pt modelId="{0DF4D955-4B58-4192-B96A-5A1EC6A75178}">
      <dgm:prSet phldrT="[Text]"/>
      <dgm:spPr/>
      <dgm:t>
        <a:bodyPr/>
        <a:lstStyle/>
        <a:p>
          <a:r>
            <a:rPr lang="en-US" dirty="0"/>
            <a:t>Monitoring and Management</a:t>
          </a:r>
        </a:p>
      </dgm:t>
    </dgm:pt>
    <dgm:pt modelId="{6D28E786-5991-4282-87DE-C9B35681583F}" type="parTrans" cxnId="{4FD4608A-C73C-4723-9BFA-AFF2EA479741}">
      <dgm:prSet/>
      <dgm:spPr/>
      <dgm:t>
        <a:bodyPr/>
        <a:lstStyle/>
        <a:p>
          <a:endParaRPr lang="en-US"/>
        </a:p>
      </dgm:t>
    </dgm:pt>
    <dgm:pt modelId="{DF161DF0-88C7-4ABB-AD82-F3107949F571}" type="sibTrans" cxnId="{4FD4608A-C73C-4723-9BFA-AFF2EA479741}">
      <dgm:prSet/>
      <dgm:spPr/>
      <dgm:t>
        <a:bodyPr/>
        <a:lstStyle/>
        <a:p>
          <a:endParaRPr lang="en-US"/>
        </a:p>
      </dgm:t>
    </dgm:pt>
    <dgm:pt modelId="{889BFDF4-ED80-4901-A111-25FB979B01BE}">
      <dgm:prSet phldrT="[Text]"/>
      <dgm:spPr/>
      <dgm:t>
        <a:bodyPr/>
        <a:lstStyle/>
        <a:p>
          <a:r>
            <a:rPr lang="en-US" dirty="0"/>
            <a:t>Development</a:t>
          </a:r>
        </a:p>
      </dgm:t>
    </dgm:pt>
    <dgm:pt modelId="{82699BE9-36A0-4364-B27B-092B1CAAF526}" type="parTrans" cxnId="{F74A3914-DAB5-48DC-AA80-0FF44615F51F}">
      <dgm:prSet/>
      <dgm:spPr/>
      <dgm:t>
        <a:bodyPr/>
        <a:lstStyle/>
        <a:p>
          <a:endParaRPr lang="en-US"/>
        </a:p>
      </dgm:t>
    </dgm:pt>
    <dgm:pt modelId="{A9DA566C-6E73-4D9A-9E54-CDED553A92F0}" type="sibTrans" cxnId="{F74A3914-DAB5-48DC-AA80-0FF44615F51F}">
      <dgm:prSet/>
      <dgm:spPr/>
      <dgm:t>
        <a:bodyPr/>
        <a:lstStyle/>
        <a:p>
          <a:endParaRPr lang="en-US"/>
        </a:p>
      </dgm:t>
    </dgm:pt>
    <dgm:pt modelId="{ECBF0E7D-1D53-41E9-B58F-C2DA73CE6F7C}">
      <dgm:prSet phldrT="[Text]"/>
      <dgm:spPr/>
      <dgm:t>
        <a:bodyPr/>
        <a:lstStyle/>
        <a:p>
          <a:r>
            <a:rPr lang="en-US" dirty="0"/>
            <a:t>Automation</a:t>
          </a:r>
        </a:p>
      </dgm:t>
    </dgm:pt>
    <dgm:pt modelId="{DD0442FE-634D-48AA-BCA0-27D254A5E090}" type="parTrans" cxnId="{F39B409A-2A6C-41C4-9A73-B0404677101A}">
      <dgm:prSet/>
      <dgm:spPr/>
      <dgm:t>
        <a:bodyPr/>
        <a:lstStyle/>
        <a:p>
          <a:endParaRPr lang="en-US"/>
        </a:p>
      </dgm:t>
    </dgm:pt>
    <dgm:pt modelId="{29F5F36B-8BD2-4081-9AF4-897933235905}" type="sibTrans" cxnId="{F39B409A-2A6C-41C4-9A73-B0404677101A}">
      <dgm:prSet/>
      <dgm:spPr/>
      <dgm:t>
        <a:bodyPr/>
        <a:lstStyle/>
        <a:p>
          <a:endParaRPr lang="en-US"/>
        </a:p>
      </dgm:t>
    </dgm:pt>
    <dgm:pt modelId="{581246C8-181E-4878-A601-2EC72759FF4F}">
      <dgm:prSet phldrT="[Text]"/>
      <dgm:spPr/>
      <dgm:t>
        <a:bodyPr/>
        <a:lstStyle/>
        <a:p>
          <a:r>
            <a:rPr lang="en-US" dirty="0"/>
            <a:t>Options</a:t>
          </a:r>
        </a:p>
      </dgm:t>
    </dgm:pt>
    <dgm:pt modelId="{9F246523-F18C-46DF-BC3A-109F69E5643D}" type="parTrans" cxnId="{A28A5B03-93B4-4E25-83A8-4717663D0BE7}">
      <dgm:prSet/>
      <dgm:spPr/>
      <dgm:t>
        <a:bodyPr/>
        <a:lstStyle/>
        <a:p>
          <a:endParaRPr lang="en-US"/>
        </a:p>
      </dgm:t>
    </dgm:pt>
    <dgm:pt modelId="{B336225B-DA50-4301-A721-DA4E4D604FF3}" type="sibTrans" cxnId="{A28A5B03-93B4-4E25-83A8-4717663D0BE7}">
      <dgm:prSet/>
      <dgm:spPr/>
      <dgm:t>
        <a:bodyPr/>
        <a:lstStyle/>
        <a:p>
          <a:endParaRPr lang="en-US"/>
        </a:p>
      </dgm:t>
    </dgm:pt>
    <dgm:pt modelId="{178528A9-B31D-459D-890B-51C8871663DA}">
      <dgm:prSet phldrT="[Text]"/>
      <dgm:spPr/>
      <dgm:t>
        <a:bodyPr/>
        <a:lstStyle/>
        <a:p>
          <a:r>
            <a:rPr lang="en-US" dirty="0"/>
            <a:t>Optimization</a:t>
          </a:r>
        </a:p>
      </dgm:t>
    </dgm:pt>
    <dgm:pt modelId="{986006F1-5FA9-4781-BC78-B3ACFD3BFA71}" type="parTrans" cxnId="{2314E4C2-BDD5-47E1-8E61-E548FCDB938B}">
      <dgm:prSet/>
      <dgm:spPr/>
      <dgm:t>
        <a:bodyPr/>
        <a:lstStyle/>
        <a:p>
          <a:endParaRPr lang="en-US"/>
        </a:p>
      </dgm:t>
    </dgm:pt>
    <dgm:pt modelId="{6849799C-A973-4335-8836-58BA2C641BC4}" type="sibTrans" cxnId="{2314E4C2-BDD5-47E1-8E61-E548FCDB938B}">
      <dgm:prSet/>
      <dgm:spPr/>
      <dgm:t>
        <a:bodyPr/>
        <a:lstStyle/>
        <a:p>
          <a:endParaRPr lang="en-US"/>
        </a:p>
      </dgm:t>
    </dgm:pt>
    <dgm:pt modelId="{F37F02E3-CBA1-4CBE-9B22-A5C4268EF28F}">
      <dgm:prSet phldrT="[Text]"/>
      <dgm:spPr/>
      <dgm:t>
        <a:bodyPr/>
        <a:lstStyle/>
        <a:p>
          <a:r>
            <a:rPr lang="en-US" dirty="0"/>
            <a:t>Regulatory requirements</a:t>
          </a:r>
        </a:p>
      </dgm:t>
    </dgm:pt>
    <dgm:pt modelId="{4E44D3AB-4158-43C1-8BBA-4C05832B36E2}" type="parTrans" cxnId="{74091998-69A2-4CAA-9D31-37B080650EBB}">
      <dgm:prSet/>
      <dgm:spPr/>
      <dgm:t>
        <a:bodyPr/>
        <a:lstStyle/>
        <a:p>
          <a:endParaRPr lang="en-US"/>
        </a:p>
      </dgm:t>
    </dgm:pt>
    <dgm:pt modelId="{BB6C094C-874C-445E-800F-176F2A2D773E}" type="sibTrans" cxnId="{74091998-69A2-4CAA-9D31-37B080650EBB}">
      <dgm:prSet/>
      <dgm:spPr/>
      <dgm:t>
        <a:bodyPr/>
        <a:lstStyle/>
        <a:p>
          <a:endParaRPr lang="en-US"/>
        </a:p>
      </dgm:t>
    </dgm:pt>
    <dgm:pt modelId="{4984D47A-45EE-4FDD-B815-BA171D1C5A36}">
      <dgm:prSet phldrT="[Text]"/>
      <dgm:spPr/>
      <dgm:t>
        <a:bodyPr/>
        <a:lstStyle/>
        <a:p>
          <a:r>
            <a:rPr lang="en-US" dirty="0"/>
            <a:t>Dev/Test/Production</a:t>
          </a:r>
        </a:p>
      </dgm:t>
    </dgm:pt>
    <dgm:pt modelId="{48B0C528-15C2-4110-8B68-EB5B1CE2CE5B}" type="parTrans" cxnId="{1FBC2FE6-C10A-41FA-BCB7-64BA6FC17F6E}">
      <dgm:prSet/>
      <dgm:spPr/>
      <dgm:t>
        <a:bodyPr/>
        <a:lstStyle/>
        <a:p>
          <a:endParaRPr lang="en-US"/>
        </a:p>
      </dgm:t>
    </dgm:pt>
    <dgm:pt modelId="{1FDBDAE1-C54E-4A8D-AE5C-81FFC5B2141B}" type="sibTrans" cxnId="{1FBC2FE6-C10A-41FA-BCB7-64BA6FC17F6E}">
      <dgm:prSet/>
      <dgm:spPr/>
      <dgm:t>
        <a:bodyPr/>
        <a:lstStyle/>
        <a:p>
          <a:endParaRPr lang="en-US"/>
        </a:p>
      </dgm:t>
    </dgm:pt>
    <dgm:pt modelId="{516B408B-B909-40EE-BE7A-256FE7D4FECB}">
      <dgm:prSet phldrT="[Text]"/>
      <dgm:spPr/>
      <dgm:t>
        <a:bodyPr/>
        <a:lstStyle/>
        <a:p>
          <a:r>
            <a:rPr lang="en-US" dirty="0"/>
            <a:t>Groups for monitoring and billing</a:t>
          </a:r>
        </a:p>
      </dgm:t>
    </dgm:pt>
    <dgm:pt modelId="{E0539F7D-5CFD-48C3-B777-8F60C333D9CA}" type="parTrans" cxnId="{D98845E4-818C-4B71-BC78-F89468CD04C5}">
      <dgm:prSet/>
      <dgm:spPr/>
      <dgm:t>
        <a:bodyPr/>
        <a:lstStyle/>
        <a:p>
          <a:endParaRPr lang="en-US"/>
        </a:p>
      </dgm:t>
    </dgm:pt>
    <dgm:pt modelId="{EBA97A5B-BBF4-4045-B728-CEB0B7C412DD}" type="sibTrans" cxnId="{D98845E4-818C-4B71-BC78-F89468CD04C5}">
      <dgm:prSet/>
      <dgm:spPr/>
      <dgm:t>
        <a:bodyPr/>
        <a:lstStyle/>
        <a:p>
          <a:endParaRPr lang="en-US"/>
        </a:p>
      </dgm:t>
    </dgm:pt>
    <dgm:pt modelId="{3CF79882-1C47-4514-AA27-40C7C574C4DB}">
      <dgm:prSet phldrT="[Text]"/>
      <dgm:spPr/>
      <dgm:t>
        <a:bodyPr/>
        <a:lstStyle/>
        <a:p>
          <a:r>
            <a:rPr lang="en-US" dirty="0"/>
            <a:t>Redundancy</a:t>
          </a:r>
        </a:p>
      </dgm:t>
    </dgm:pt>
    <dgm:pt modelId="{8E2A1C3C-4237-4BC2-8069-1AA25F374816}" type="parTrans" cxnId="{4C4EBE4C-B5CE-4AA7-837B-BDC5955EE20E}">
      <dgm:prSet/>
      <dgm:spPr/>
      <dgm:t>
        <a:bodyPr/>
        <a:lstStyle/>
        <a:p>
          <a:endParaRPr lang="en-US"/>
        </a:p>
      </dgm:t>
    </dgm:pt>
    <dgm:pt modelId="{C092D800-1BAB-4DAA-A0A3-AA1E090E212B}" type="sibTrans" cxnId="{4C4EBE4C-B5CE-4AA7-837B-BDC5955EE20E}">
      <dgm:prSet/>
      <dgm:spPr/>
      <dgm:t>
        <a:bodyPr/>
        <a:lstStyle/>
        <a:p>
          <a:endParaRPr lang="en-US"/>
        </a:p>
      </dgm:t>
    </dgm:pt>
    <dgm:pt modelId="{26C202F7-81A9-4496-A14C-0F0C7A8288CA}">
      <dgm:prSet phldrT="[Text]"/>
      <dgm:spPr/>
      <dgm:t>
        <a:bodyPr/>
        <a:lstStyle/>
        <a:p>
          <a:r>
            <a:rPr lang="en-US" dirty="0"/>
            <a:t>Recovery strategies</a:t>
          </a:r>
        </a:p>
      </dgm:t>
    </dgm:pt>
    <dgm:pt modelId="{05C5BA8B-6560-4107-9987-54D722D85CAA}" type="parTrans" cxnId="{9EFDD017-DECC-4072-A432-46931FD1BB70}">
      <dgm:prSet/>
      <dgm:spPr/>
      <dgm:t>
        <a:bodyPr/>
        <a:lstStyle/>
        <a:p>
          <a:endParaRPr lang="en-US"/>
        </a:p>
      </dgm:t>
    </dgm:pt>
    <dgm:pt modelId="{67414826-CBBF-45DF-9390-37651B965F22}" type="sibTrans" cxnId="{9EFDD017-DECC-4072-A432-46931FD1BB70}">
      <dgm:prSet/>
      <dgm:spPr/>
      <dgm:t>
        <a:bodyPr/>
        <a:lstStyle/>
        <a:p>
          <a:endParaRPr lang="en-US"/>
        </a:p>
      </dgm:t>
    </dgm:pt>
    <dgm:pt modelId="{1B88233D-81ED-49A9-A83C-E8279FC70E5F}">
      <dgm:prSet phldrT="[Text]"/>
      <dgm:spPr/>
      <dgm:t>
        <a:bodyPr/>
        <a:lstStyle/>
        <a:p>
          <a:r>
            <a:rPr lang="en-US" dirty="0"/>
            <a:t>Outage fallbacks</a:t>
          </a:r>
        </a:p>
      </dgm:t>
    </dgm:pt>
    <dgm:pt modelId="{2A82E623-1A38-4448-BC70-EA01AA5C940E}" type="parTrans" cxnId="{A791EEC5-1C7F-46A9-867C-AAF94DFC4156}">
      <dgm:prSet/>
      <dgm:spPr/>
      <dgm:t>
        <a:bodyPr/>
        <a:lstStyle/>
        <a:p>
          <a:endParaRPr lang="en-US"/>
        </a:p>
      </dgm:t>
    </dgm:pt>
    <dgm:pt modelId="{D2EC917D-665D-4555-AF2F-1AC5F8CCF642}" type="sibTrans" cxnId="{A791EEC5-1C7F-46A9-867C-AAF94DFC4156}">
      <dgm:prSet/>
      <dgm:spPr/>
      <dgm:t>
        <a:bodyPr/>
        <a:lstStyle/>
        <a:p>
          <a:endParaRPr lang="en-US"/>
        </a:p>
      </dgm:t>
    </dgm:pt>
    <dgm:pt modelId="{4DDF4143-F981-4EAD-9C97-199D8ADE1CA6}">
      <dgm:prSet phldrT="[Text]"/>
      <dgm:spPr/>
      <dgm:t>
        <a:bodyPr/>
        <a:lstStyle/>
        <a:p>
          <a:r>
            <a:rPr lang="en-US" dirty="0"/>
            <a:t>Issue identification</a:t>
          </a:r>
        </a:p>
      </dgm:t>
    </dgm:pt>
    <dgm:pt modelId="{7072F69A-1BAC-4AAC-8796-151D2B09D0B7}" type="parTrans" cxnId="{15DBDAF9-0A7F-43C1-86A8-00FDBB9B3DE9}">
      <dgm:prSet/>
      <dgm:spPr/>
      <dgm:t>
        <a:bodyPr/>
        <a:lstStyle/>
        <a:p>
          <a:endParaRPr lang="en-US"/>
        </a:p>
      </dgm:t>
    </dgm:pt>
    <dgm:pt modelId="{AFBE715B-A6DD-429F-B539-0A0C194394A1}" type="sibTrans" cxnId="{15DBDAF9-0A7F-43C1-86A8-00FDBB9B3DE9}">
      <dgm:prSet/>
      <dgm:spPr/>
      <dgm:t>
        <a:bodyPr/>
        <a:lstStyle/>
        <a:p>
          <a:endParaRPr lang="en-US"/>
        </a:p>
      </dgm:t>
    </dgm:pt>
    <dgm:pt modelId="{FEB09DC5-8F2D-459A-9EE5-514B87A88EEB}">
      <dgm:prSet phldrT="[Text]"/>
      <dgm:spPr/>
      <dgm:t>
        <a:bodyPr/>
        <a:lstStyle/>
        <a:p>
          <a:r>
            <a:rPr lang="en-US" dirty="0"/>
            <a:t>Resolution call tree</a:t>
          </a:r>
        </a:p>
      </dgm:t>
    </dgm:pt>
    <dgm:pt modelId="{60A313CB-EA6E-413C-93C2-76978110E437}" type="parTrans" cxnId="{2558ECD7-F9F8-4E42-9511-431B2175C82A}">
      <dgm:prSet/>
      <dgm:spPr/>
      <dgm:t>
        <a:bodyPr/>
        <a:lstStyle/>
        <a:p>
          <a:endParaRPr lang="en-US"/>
        </a:p>
      </dgm:t>
    </dgm:pt>
    <dgm:pt modelId="{5C136DB2-2B2D-4D97-B591-A8200C4CDCC8}" type="sibTrans" cxnId="{2558ECD7-F9F8-4E42-9511-431B2175C82A}">
      <dgm:prSet/>
      <dgm:spPr/>
      <dgm:t>
        <a:bodyPr/>
        <a:lstStyle/>
        <a:p>
          <a:endParaRPr lang="en-US"/>
        </a:p>
      </dgm:t>
    </dgm:pt>
    <dgm:pt modelId="{2FA8F281-A594-4AB1-9610-DB57A2FB3620}">
      <dgm:prSet phldrT="[Text]"/>
      <dgm:spPr/>
      <dgm:t>
        <a:bodyPr/>
        <a:lstStyle/>
        <a:p>
          <a:r>
            <a:rPr lang="en-US" dirty="0"/>
            <a:t>Telemetry data collection and storage</a:t>
          </a:r>
        </a:p>
      </dgm:t>
    </dgm:pt>
    <dgm:pt modelId="{F97C0F2D-B4D9-442B-9773-952EF8B0C240}" type="parTrans" cxnId="{7717A842-E526-4826-B342-D2B53B57ABE9}">
      <dgm:prSet/>
      <dgm:spPr/>
      <dgm:t>
        <a:bodyPr/>
        <a:lstStyle/>
        <a:p>
          <a:endParaRPr lang="en-US"/>
        </a:p>
      </dgm:t>
    </dgm:pt>
    <dgm:pt modelId="{57C876A5-FEB0-4A18-9B78-62FAD325766C}" type="sibTrans" cxnId="{7717A842-E526-4826-B342-D2B53B57ABE9}">
      <dgm:prSet/>
      <dgm:spPr/>
      <dgm:t>
        <a:bodyPr/>
        <a:lstStyle/>
        <a:p>
          <a:endParaRPr lang="en-US"/>
        </a:p>
      </dgm:t>
    </dgm:pt>
    <dgm:pt modelId="{A2551323-DBDF-4347-A140-A437DF87E43D}">
      <dgm:prSet phldrT="[Text]"/>
      <dgm:spPr/>
      <dgm:t>
        <a:bodyPr/>
        <a:lstStyle/>
        <a:p>
          <a:r>
            <a:rPr lang="en-US" dirty="0"/>
            <a:t>Report distribution</a:t>
          </a:r>
        </a:p>
      </dgm:t>
    </dgm:pt>
    <dgm:pt modelId="{DDDE3D95-6301-43DF-AC7C-8770E3C744F9}" type="parTrans" cxnId="{CE542488-D4E0-4ACF-B51E-EE1D6AEB6F65}">
      <dgm:prSet/>
      <dgm:spPr/>
      <dgm:t>
        <a:bodyPr/>
        <a:lstStyle/>
        <a:p>
          <a:endParaRPr lang="en-US"/>
        </a:p>
      </dgm:t>
    </dgm:pt>
    <dgm:pt modelId="{6959CC38-679D-4D2C-B824-EE08B52585BF}" type="sibTrans" cxnId="{CE542488-D4E0-4ACF-B51E-EE1D6AEB6F65}">
      <dgm:prSet/>
      <dgm:spPr/>
      <dgm:t>
        <a:bodyPr/>
        <a:lstStyle/>
        <a:p>
          <a:endParaRPr lang="en-US"/>
        </a:p>
      </dgm:t>
    </dgm:pt>
    <dgm:pt modelId="{7560F218-1D10-4D58-84C0-0F285BBE50BC}">
      <dgm:prSet phldrT="[Text]"/>
      <dgm:spPr/>
      <dgm:t>
        <a:bodyPr/>
        <a:lstStyle/>
        <a:p>
          <a:r>
            <a:rPr lang="en-US" dirty="0"/>
            <a:t>Automated alerts</a:t>
          </a:r>
        </a:p>
      </dgm:t>
    </dgm:pt>
    <dgm:pt modelId="{79CBB9AB-E975-4131-994C-38E48D9387BA}" type="parTrans" cxnId="{34F9B48F-B965-4478-9654-2DC32A680C02}">
      <dgm:prSet/>
      <dgm:spPr/>
      <dgm:t>
        <a:bodyPr/>
        <a:lstStyle/>
        <a:p>
          <a:endParaRPr lang="en-US"/>
        </a:p>
      </dgm:t>
    </dgm:pt>
    <dgm:pt modelId="{92974BE0-09B8-49D3-8783-6164B0373553}" type="sibTrans" cxnId="{34F9B48F-B965-4478-9654-2DC32A680C02}">
      <dgm:prSet/>
      <dgm:spPr/>
      <dgm:t>
        <a:bodyPr/>
        <a:lstStyle/>
        <a:p>
          <a:endParaRPr lang="en-US"/>
        </a:p>
      </dgm:t>
    </dgm:pt>
    <dgm:pt modelId="{B78AF61E-4D36-4D1D-9D94-995D08DC924F}">
      <dgm:prSet phldrT="[Text]"/>
      <dgm:spPr/>
      <dgm:t>
        <a:bodyPr/>
        <a:lstStyle/>
        <a:p>
          <a:r>
            <a:rPr lang="en-US" dirty="0"/>
            <a:t>Networking and Hybrid</a:t>
          </a:r>
        </a:p>
      </dgm:t>
    </dgm:pt>
    <dgm:pt modelId="{91C7963C-DC2B-4128-A4EA-CE355504906C}" type="parTrans" cxnId="{14285239-5302-4F2C-8270-10576C429FF3}">
      <dgm:prSet/>
      <dgm:spPr/>
      <dgm:t>
        <a:bodyPr/>
        <a:lstStyle/>
        <a:p>
          <a:endParaRPr lang="en-US"/>
        </a:p>
      </dgm:t>
    </dgm:pt>
    <dgm:pt modelId="{6B4205C2-1472-4635-B2BB-0C5BB42B6199}" type="sibTrans" cxnId="{14285239-5302-4F2C-8270-10576C429FF3}">
      <dgm:prSet/>
      <dgm:spPr/>
      <dgm:t>
        <a:bodyPr/>
        <a:lstStyle/>
        <a:p>
          <a:endParaRPr lang="en-US"/>
        </a:p>
      </dgm:t>
    </dgm:pt>
    <dgm:pt modelId="{7EDDF440-80B6-4AC2-B1A4-A3D252D2AFE3}">
      <dgm:prSet phldrT="[Text]"/>
      <dgm:spPr/>
      <dgm:t>
        <a:bodyPr/>
        <a:lstStyle/>
        <a:p>
          <a:r>
            <a:rPr lang="en-US" dirty="0"/>
            <a:t>Support</a:t>
          </a:r>
        </a:p>
      </dgm:t>
    </dgm:pt>
    <dgm:pt modelId="{509887BA-4129-457C-9D3E-6342D99FC8AD}" type="parTrans" cxnId="{A0DDAD0B-4378-4055-953D-CDA16C1CD9FB}">
      <dgm:prSet/>
      <dgm:spPr/>
      <dgm:t>
        <a:bodyPr/>
        <a:lstStyle/>
        <a:p>
          <a:endParaRPr lang="en-US"/>
        </a:p>
      </dgm:t>
    </dgm:pt>
    <dgm:pt modelId="{8ECE8B4B-9696-4598-8BD4-1A99BEC022E2}" type="sibTrans" cxnId="{A0DDAD0B-4378-4055-953D-CDA16C1CD9FB}">
      <dgm:prSet/>
      <dgm:spPr/>
      <dgm:t>
        <a:bodyPr/>
        <a:lstStyle/>
        <a:p>
          <a:endParaRPr lang="en-US"/>
        </a:p>
      </dgm:t>
    </dgm:pt>
    <dgm:pt modelId="{86EE1229-D4A9-47A9-9BB0-9678935912BB}">
      <dgm:prSet phldrT="[Text]"/>
      <dgm:spPr/>
      <dgm:t>
        <a:bodyPr/>
        <a:lstStyle/>
        <a:p>
          <a:r>
            <a:rPr lang="en-US" dirty="0"/>
            <a:t>Scheduling</a:t>
          </a:r>
        </a:p>
      </dgm:t>
    </dgm:pt>
    <dgm:pt modelId="{09409B7E-5AFA-4851-89B7-AC680B600A30}" type="parTrans" cxnId="{C80B131D-E6EE-40F6-A12D-B38D900FDFE0}">
      <dgm:prSet/>
      <dgm:spPr/>
      <dgm:t>
        <a:bodyPr/>
        <a:lstStyle/>
        <a:p>
          <a:endParaRPr lang="en-US"/>
        </a:p>
      </dgm:t>
    </dgm:pt>
    <dgm:pt modelId="{C26B5D57-F1DA-4D82-BBD9-293404CEEA6E}" type="sibTrans" cxnId="{C80B131D-E6EE-40F6-A12D-B38D900FDFE0}">
      <dgm:prSet/>
      <dgm:spPr/>
      <dgm:t>
        <a:bodyPr/>
        <a:lstStyle/>
        <a:p>
          <a:endParaRPr lang="en-US"/>
        </a:p>
      </dgm:t>
    </dgm:pt>
    <dgm:pt modelId="{4063D435-9797-4535-BFA9-1BF8D357480D}">
      <dgm:prSet phldrT="[Text]"/>
      <dgm:spPr/>
      <dgm:t>
        <a:bodyPr/>
        <a:lstStyle/>
        <a:p>
          <a:r>
            <a:rPr lang="en-US" dirty="0"/>
            <a:t>Migration</a:t>
          </a:r>
        </a:p>
      </dgm:t>
    </dgm:pt>
    <dgm:pt modelId="{45390E99-FC67-4D48-ACCE-DBCF43A3D4AD}" type="parTrans" cxnId="{4C11895C-F067-401A-9436-9573BEF4CCEE}">
      <dgm:prSet/>
      <dgm:spPr/>
      <dgm:t>
        <a:bodyPr/>
        <a:lstStyle/>
        <a:p>
          <a:endParaRPr lang="en-US"/>
        </a:p>
      </dgm:t>
    </dgm:pt>
    <dgm:pt modelId="{2504D878-622F-4233-93E6-DFBD3F989313}" type="sibTrans" cxnId="{4C11895C-F067-401A-9436-9573BEF4CCEE}">
      <dgm:prSet/>
      <dgm:spPr/>
      <dgm:t>
        <a:bodyPr/>
        <a:lstStyle/>
        <a:p>
          <a:endParaRPr lang="en-US"/>
        </a:p>
      </dgm:t>
    </dgm:pt>
    <dgm:pt modelId="{03380529-4442-4738-A790-D35C3D35B2FF}" type="pres">
      <dgm:prSet presAssocID="{BF86B76B-4D25-48D0-9D7B-39A830F7D6BC}" presName="diagram" presStyleCnt="0">
        <dgm:presLayoutVars>
          <dgm:dir/>
          <dgm:animLvl val="lvl"/>
          <dgm:resizeHandles val="exact"/>
        </dgm:presLayoutVars>
      </dgm:prSet>
      <dgm:spPr/>
    </dgm:pt>
    <dgm:pt modelId="{3389DA64-A6E1-4AF1-B487-996A8892449C}" type="pres">
      <dgm:prSet presAssocID="{FD07E91C-7046-43AA-B707-9B569F93A4ED}" presName="compNode" presStyleCnt="0"/>
      <dgm:spPr/>
    </dgm:pt>
    <dgm:pt modelId="{8969E77D-450B-4AA5-A0D7-1198EF98D262}" type="pres">
      <dgm:prSet presAssocID="{FD07E91C-7046-43AA-B707-9B569F93A4ED}" presName="childRect" presStyleLbl="bgAcc1" presStyleIdx="0" presStyleCnt="7">
        <dgm:presLayoutVars>
          <dgm:bulletEnabled val="1"/>
        </dgm:presLayoutVars>
      </dgm:prSet>
      <dgm:spPr/>
    </dgm:pt>
    <dgm:pt modelId="{737986F3-B851-4A5D-88F6-F1A82441DEF9}" type="pres">
      <dgm:prSet presAssocID="{FD07E91C-7046-43AA-B707-9B569F93A4ED}" presName="parentText" presStyleLbl="node1" presStyleIdx="0" presStyleCnt="0">
        <dgm:presLayoutVars>
          <dgm:chMax val="0"/>
          <dgm:bulletEnabled val="1"/>
        </dgm:presLayoutVars>
      </dgm:prSet>
      <dgm:spPr/>
    </dgm:pt>
    <dgm:pt modelId="{D205654F-51A3-4FAE-BE99-C43D0F29D35C}" type="pres">
      <dgm:prSet presAssocID="{FD07E91C-7046-43AA-B707-9B569F93A4ED}" presName="parentRect" presStyleLbl="alignNode1" presStyleIdx="0" presStyleCnt="7"/>
      <dgm:spPr/>
    </dgm:pt>
    <dgm:pt modelId="{53654164-1169-41BD-8EFC-F0F3257C3B0A}" type="pres">
      <dgm:prSet presAssocID="{FD07E91C-7046-43AA-B707-9B569F93A4ED}" presName="adorn" presStyleLbl="fgAccFollowNode1" presStyleIdx="0" presStyleCnt="7"/>
      <dgm:spPr/>
    </dgm:pt>
    <dgm:pt modelId="{3C87AD43-0AD8-428C-9AFA-3554C295DCBC}" type="pres">
      <dgm:prSet presAssocID="{E412A020-3511-4A7A-8663-0AFBEDD8CBD9}" presName="sibTrans" presStyleLbl="sibTrans2D1" presStyleIdx="0" presStyleCnt="0"/>
      <dgm:spPr/>
    </dgm:pt>
    <dgm:pt modelId="{3B496D88-7194-4440-BC79-C7FB38DE0CD6}" type="pres">
      <dgm:prSet presAssocID="{BB06A51A-E5C3-4815-9A8A-26A9C315F2C9}" presName="compNode" presStyleCnt="0"/>
      <dgm:spPr/>
    </dgm:pt>
    <dgm:pt modelId="{33702B15-9095-4FA4-8821-B11AC9EBEFC2}" type="pres">
      <dgm:prSet presAssocID="{BB06A51A-E5C3-4815-9A8A-26A9C315F2C9}" presName="childRect" presStyleLbl="bgAcc1" presStyleIdx="1" presStyleCnt="7" custLinFactNeighborX="0" custLinFactNeighborY="897">
        <dgm:presLayoutVars>
          <dgm:bulletEnabled val="1"/>
        </dgm:presLayoutVars>
      </dgm:prSet>
      <dgm:spPr/>
    </dgm:pt>
    <dgm:pt modelId="{102AB124-12EB-480F-B510-081B528C8CEC}" type="pres">
      <dgm:prSet presAssocID="{BB06A51A-E5C3-4815-9A8A-26A9C315F2C9}" presName="parentText" presStyleLbl="node1" presStyleIdx="0" presStyleCnt="0">
        <dgm:presLayoutVars>
          <dgm:chMax val="0"/>
          <dgm:bulletEnabled val="1"/>
        </dgm:presLayoutVars>
      </dgm:prSet>
      <dgm:spPr/>
    </dgm:pt>
    <dgm:pt modelId="{63BDA6B1-2B38-4AE2-AC0A-4100D50825C7}" type="pres">
      <dgm:prSet presAssocID="{BB06A51A-E5C3-4815-9A8A-26A9C315F2C9}" presName="parentRect" presStyleLbl="alignNode1" presStyleIdx="1" presStyleCnt="7"/>
      <dgm:spPr/>
    </dgm:pt>
    <dgm:pt modelId="{C3295073-1100-4C99-8DBE-A1041DE3314E}" type="pres">
      <dgm:prSet presAssocID="{BB06A51A-E5C3-4815-9A8A-26A9C315F2C9}" presName="adorn" presStyleLbl="fgAccFollowNode1" presStyleIdx="1" presStyleCnt="7"/>
      <dgm:spPr/>
    </dgm:pt>
    <dgm:pt modelId="{5ADC0861-C82E-454D-BD90-559DC9444550}" type="pres">
      <dgm:prSet presAssocID="{9F92ED19-1724-43E6-95B0-EF6C9BED8AE0}" presName="sibTrans" presStyleLbl="sibTrans2D1" presStyleIdx="0" presStyleCnt="0"/>
      <dgm:spPr/>
    </dgm:pt>
    <dgm:pt modelId="{5BEF81D2-4084-45D8-B93A-C243F6FBCA95}" type="pres">
      <dgm:prSet presAssocID="{ADFEDC73-2B2E-43C0-AD58-725D1DCF174E}" presName="compNode" presStyleCnt="0"/>
      <dgm:spPr/>
    </dgm:pt>
    <dgm:pt modelId="{11DC0853-3C95-48A0-8914-B279EF9D3451}" type="pres">
      <dgm:prSet presAssocID="{ADFEDC73-2B2E-43C0-AD58-725D1DCF174E}" presName="childRect" presStyleLbl="bgAcc1" presStyleIdx="2" presStyleCnt="7">
        <dgm:presLayoutVars>
          <dgm:bulletEnabled val="1"/>
        </dgm:presLayoutVars>
      </dgm:prSet>
      <dgm:spPr/>
    </dgm:pt>
    <dgm:pt modelId="{AD9F7918-4D7E-42F5-ADBE-CEE5B6F73579}" type="pres">
      <dgm:prSet presAssocID="{ADFEDC73-2B2E-43C0-AD58-725D1DCF174E}" presName="parentText" presStyleLbl="node1" presStyleIdx="0" presStyleCnt="0">
        <dgm:presLayoutVars>
          <dgm:chMax val="0"/>
          <dgm:bulletEnabled val="1"/>
        </dgm:presLayoutVars>
      </dgm:prSet>
      <dgm:spPr/>
    </dgm:pt>
    <dgm:pt modelId="{813E9E72-B8C5-4FD7-A1C8-FE5434B134AB}" type="pres">
      <dgm:prSet presAssocID="{ADFEDC73-2B2E-43C0-AD58-725D1DCF174E}" presName="parentRect" presStyleLbl="alignNode1" presStyleIdx="2" presStyleCnt="7"/>
      <dgm:spPr/>
    </dgm:pt>
    <dgm:pt modelId="{2A3C153A-B69D-4383-8F06-C0B5B631BCF6}" type="pres">
      <dgm:prSet presAssocID="{ADFEDC73-2B2E-43C0-AD58-725D1DCF174E}" presName="adorn" presStyleLbl="fgAccFollowNode1" presStyleIdx="2" presStyleCnt="7"/>
      <dgm:spPr/>
    </dgm:pt>
    <dgm:pt modelId="{79BAC803-CD8B-4D4D-A91A-1BFC6FF553B3}" type="pres">
      <dgm:prSet presAssocID="{6A8ADEC0-2A0D-4067-9DA1-C9A0DDF26CEA}" presName="sibTrans" presStyleLbl="sibTrans2D1" presStyleIdx="0" presStyleCnt="0"/>
      <dgm:spPr/>
    </dgm:pt>
    <dgm:pt modelId="{64D717DD-92EE-4060-9F48-A801A15D78E9}" type="pres">
      <dgm:prSet presAssocID="{839741EB-AF70-4F04-8CE1-CB6A354BDA2D}" presName="compNode" presStyleCnt="0"/>
      <dgm:spPr/>
    </dgm:pt>
    <dgm:pt modelId="{63298AE1-0B1E-4F2F-9FE9-40C2F82C9870}" type="pres">
      <dgm:prSet presAssocID="{839741EB-AF70-4F04-8CE1-CB6A354BDA2D}" presName="childRect" presStyleLbl="bgAcc1" presStyleIdx="3" presStyleCnt="7">
        <dgm:presLayoutVars>
          <dgm:bulletEnabled val="1"/>
        </dgm:presLayoutVars>
      </dgm:prSet>
      <dgm:spPr/>
    </dgm:pt>
    <dgm:pt modelId="{0BD928BB-9FB9-45AA-9F1D-B3A252A776DF}" type="pres">
      <dgm:prSet presAssocID="{839741EB-AF70-4F04-8CE1-CB6A354BDA2D}" presName="parentText" presStyleLbl="node1" presStyleIdx="0" presStyleCnt="0">
        <dgm:presLayoutVars>
          <dgm:chMax val="0"/>
          <dgm:bulletEnabled val="1"/>
        </dgm:presLayoutVars>
      </dgm:prSet>
      <dgm:spPr/>
    </dgm:pt>
    <dgm:pt modelId="{0C665551-770F-4D57-ADD8-1E8A28F25433}" type="pres">
      <dgm:prSet presAssocID="{839741EB-AF70-4F04-8CE1-CB6A354BDA2D}" presName="parentRect" presStyleLbl="alignNode1" presStyleIdx="3" presStyleCnt="7"/>
      <dgm:spPr/>
    </dgm:pt>
    <dgm:pt modelId="{D866364E-1252-4458-8A32-9B69140072FF}" type="pres">
      <dgm:prSet presAssocID="{839741EB-AF70-4F04-8CE1-CB6A354BDA2D}" presName="adorn" presStyleLbl="fgAccFollowNode1" presStyleIdx="3" presStyleCnt="7"/>
      <dgm:spPr/>
    </dgm:pt>
    <dgm:pt modelId="{D21577B0-F1B9-4247-9E73-8138B13E418F}" type="pres">
      <dgm:prSet presAssocID="{D6544E59-53C7-4362-82D3-269E2EFD0C4B}" presName="sibTrans" presStyleLbl="sibTrans2D1" presStyleIdx="0" presStyleCnt="0"/>
      <dgm:spPr/>
    </dgm:pt>
    <dgm:pt modelId="{4A922AE4-6B6C-4683-B4C4-E002C52483EF}" type="pres">
      <dgm:prSet presAssocID="{7D7BEADE-5062-48DE-94DE-BDA19850E310}" presName="compNode" presStyleCnt="0"/>
      <dgm:spPr/>
    </dgm:pt>
    <dgm:pt modelId="{DAFA15F9-F5B6-4406-AE11-5EFCF813A28C}" type="pres">
      <dgm:prSet presAssocID="{7D7BEADE-5062-48DE-94DE-BDA19850E310}" presName="childRect" presStyleLbl="bgAcc1" presStyleIdx="4" presStyleCnt="7">
        <dgm:presLayoutVars>
          <dgm:bulletEnabled val="1"/>
        </dgm:presLayoutVars>
      </dgm:prSet>
      <dgm:spPr/>
    </dgm:pt>
    <dgm:pt modelId="{2FB54CA6-FB20-48A0-B936-73347A6D0662}" type="pres">
      <dgm:prSet presAssocID="{7D7BEADE-5062-48DE-94DE-BDA19850E310}" presName="parentText" presStyleLbl="node1" presStyleIdx="0" presStyleCnt="0">
        <dgm:presLayoutVars>
          <dgm:chMax val="0"/>
          <dgm:bulletEnabled val="1"/>
        </dgm:presLayoutVars>
      </dgm:prSet>
      <dgm:spPr/>
    </dgm:pt>
    <dgm:pt modelId="{8B7FD021-6E0C-40A6-9B5F-918B4B042299}" type="pres">
      <dgm:prSet presAssocID="{7D7BEADE-5062-48DE-94DE-BDA19850E310}" presName="parentRect" presStyleLbl="alignNode1" presStyleIdx="4" presStyleCnt="7"/>
      <dgm:spPr/>
    </dgm:pt>
    <dgm:pt modelId="{2B68F48A-8B70-478C-9F52-0D527B153546}" type="pres">
      <dgm:prSet presAssocID="{7D7BEADE-5062-48DE-94DE-BDA19850E310}" presName="adorn" presStyleLbl="fgAccFollowNode1" presStyleIdx="4" presStyleCnt="7"/>
      <dgm:spPr/>
    </dgm:pt>
    <dgm:pt modelId="{91E02F7E-BB11-4B8F-B641-4866397949A8}" type="pres">
      <dgm:prSet presAssocID="{3AEB83EA-4798-41AA-9117-F3038C37D71B}" presName="sibTrans" presStyleLbl="sibTrans2D1" presStyleIdx="0" presStyleCnt="0"/>
      <dgm:spPr/>
    </dgm:pt>
    <dgm:pt modelId="{5AC90E4B-70F2-4041-A278-85B1AA4EB005}" type="pres">
      <dgm:prSet presAssocID="{CA1FB632-7D23-4C74-8661-3F621065FC5B}" presName="compNode" presStyleCnt="0"/>
      <dgm:spPr/>
    </dgm:pt>
    <dgm:pt modelId="{EBAAD708-00D7-4493-BDC1-12B6057906A7}" type="pres">
      <dgm:prSet presAssocID="{CA1FB632-7D23-4C74-8661-3F621065FC5B}" presName="childRect" presStyleLbl="bgAcc1" presStyleIdx="5" presStyleCnt="7">
        <dgm:presLayoutVars>
          <dgm:bulletEnabled val="1"/>
        </dgm:presLayoutVars>
      </dgm:prSet>
      <dgm:spPr/>
    </dgm:pt>
    <dgm:pt modelId="{A8EB758A-B470-4A99-84C6-32322A8C0C2A}" type="pres">
      <dgm:prSet presAssocID="{CA1FB632-7D23-4C74-8661-3F621065FC5B}" presName="parentText" presStyleLbl="node1" presStyleIdx="0" presStyleCnt="0">
        <dgm:presLayoutVars>
          <dgm:chMax val="0"/>
          <dgm:bulletEnabled val="1"/>
        </dgm:presLayoutVars>
      </dgm:prSet>
      <dgm:spPr/>
    </dgm:pt>
    <dgm:pt modelId="{0F6780AD-6FF0-481B-941D-33FB86F3EB15}" type="pres">
      <dgm:prSet presAssocID="{CA1FB632-7D23-4C74-8661-3F621065FC5B}" presName="parentRect" presStyleLbl="alignNode1" presStyleIdx="5" presStyleCnt="7"/>
      <dgm:spPr/>
    </dgm:pt>
    <dgm:pt modelId="{05FE2D10-5428-4ADF-A07E-A42426C46C52}" type="pres">
      <dgm:prSet presAssocID="{CA1FB632-7D23-4C74-8661-3F621065FC5B}" presName="adorn" presStyleLbl="fgAccFollowNode1" presStyleIdx="5" presStyleCnt="7"/>
      <dgm:spPr/>
    </dgm:pt>
    <dgm:pt modelId="{36489D48-03D6-4FE4-84E5-8A76C77942E2}" type="pres">
      <dgm:prSet presAssocID="{E72DA594-5EF6-49EF-B7A8-761A72DFC525}" presName="sibTrans" presStyleLbl="sibTrans2D1" presStyleIdx="0" presStyleCnt="0"/>
      <dgm:spPr/>
    </dgm:pt>
    <dgm:pt modelId="{574A7155-F78B-4E57-9B61-E4169DB610B9}" type="pres">
      <dgm:prSet presAssocID="{1721E8E1-C089-4FFE-BBEE-283977BBB4E7}" presName="compNode" presStyleCnt="0"/>
      <dgm:spPr/>
    </dgm:pt>
    <dgm:pt modelId="{9D7E3D2A-F1CD-4DD9-A45E-2E38E6089D9D}" type="pres">
      <dgm:prSet presAssocID="{1721E8E1-C089-4FFE-BBEE-283977BBB4E7}" presName="childRect" presStyleLbl="bgAcc1" presStyleIdx="6" presStyleCnt="7" custScaleX="111963">
        <dgm:presLayoutVars>
          <dgm:bulletEnabled val="1"/>
        </dgm:presLayoutVars>
      </dgm:prSet>
      <dgm:spPr/>
    </dgm:pt>
    <dgm:pt modelId="{BB249775-B93F-4D41-8748-455120B86C4B}" type="pres">
      <dgm:prSet presAssocID="{1721E8E1-C089-4FFE-BBEE-283977BBB4E7}" presName="parentText" presStyleLbl="node1" presStyleIdx="0" presStyleCnt="0">
        <dgm:presLayoutVars>
          <dgm:chMax val="0"/>
          <dgm:bulletEnabled val="1"/>
        </dgm:presLayoutVars>
      </dgm:prSet>
      <dgm:spPr/>
    </dgm:pt>
    <dgm:pt modelId="{49D40827-C37B-462A-8830-3781D78F9E47}" type="pres">
      <dgm:prSet presAssocID="{1721E8E1-C089-4FFE-BBEE-283977BBB4E7}" presName="parentRect" presStyleLbl="alignNode1" presStyleIdx="6" presStyleCnt="7" custScaleX="112640"/>
      <dgm:spPr/>
    </dgm:pt>
    <dgm:pt modelId="{1FE2202C-CE03-4175-93F8-B669AAABE73F}" type="pres">
      <dgm:prSet presAssocID="{1721E8E1-C089-4FFE-BBEE-283977BBB4E7}" presName="adorn" presStyleLbl="fgAccFollowNode1" presStyleIdx="6" presStyleCnt="7" custLinFactNeighborX="19348"/>
      <dgm:spPr/>
    </dgm:pt>
  </dgm:ptLst>
  <dgm:cxnLst>
    <dgm:cxn modelId="{A28A5B03-93B4-4E25-83A8-4717663D0BE7}" srcId="{ADFEDC73-2B2E-43C0-AD58-725D1DCF174E}" destId="{581246C8-181E-4878-A601-2EC72759FF4F}" srcOrd="0" destOrd="0" parTransId="{9F246523-F18C-46DF-BC3A-109F69E5643D}" sibTransId="{B336225B-DA50-4301-A721-DA4E4D604FF3}"/>
    <dgm:cxn modelId="{A4CF5F03-1BDC-46C3-BB5F-D7FB2AD10F11}" type="presOf" srcId="{E412A020-3511-4A7A-8663-0AFBEDD8CBD9}" destId="{3C87AD43-0AD8-428C-9AFA-3554C295DCBC}" srcOrd="0" destOrd="0" presId="urn:microsoft.com/office/officeart/2005/8/layout/bList2"/>
    <dgm:cxn modelId="{8115C405-B7F1-4AD9-85FF-EFD658429021}" type="presOf" srcId="{9F92ED19-1724-43E6-95B0-EF6C9BED8AE0}" destId="{5ADC0861-C82E-454D-BD90-559DC9444550}" srcOrd="0" destOrd="0" presId="urn:microsoft.com/office/officeart/2005/8/layout/bList2"/>
    <dgm:cxn modelId="{69E29907-1A6E-4093-991A-272E4B291A14}" type="presOf" srcId="{ADFEDC73-2B2E-43C0-AD58-725D1DCF174E}" destId="{AD9F7918-4D7E-42F5-ADBE-CEE5B6F73579}" srcOrd="0" destOrd="0" presId="urn:microsoft.com/office/officeart/2005/8/layout/bList2"/>
    <dgm:cxn modelId="{C28C3509-00A2-4FE5-AE23-B4E65A97FC62}" srcId="{BF86B76B-4D25-48D0-9D7B-39A830F7D6BC}" destId="{1721E8E1-C089-4FFE-BBEE-283977BBB4E7}" srcOrd="6" destOrd="0" parTransId="{E8DDFD25-30B0-4F9A-9E7A-77729F0393E6}" sibTransId="{BBE17935-87EF-4663-BB5D-FF67800B3EDD}"/>
    <dgm:cxn modelId="{A0DDAD0B-4378-4055-953D-CDA16C1CD9FB}" srcId="{1721E8E1-C089-4FFE-BBEE-283977BBB4E7}" destId="{7EDDF440-80B6-4AC2-B1A4-A3D252D2AFE3}" srcOrd="2" destOrd="0" parTransId="{509887BA-4129-457C-9D3E-6342D99FC8AD}" sibTransId="{8ECE8B4B-9696-4598-8BD4-1A99BEC022E2}"/>
    <dgm:cxn modelId="{5ACB850D-ACA0-44C7-BE8E-06F88377075D}" type="presOf" srcId="{C70DC36B-8303-4652-8BF1-0D84A29FCFED}" destId="{8969E77D-450B-4AA5-A0D7-1198EF98D262}" srcOrd="0" destOrd="2" presId="urn:microsoft.com/office/officeart/2005/8/layout/bList2"/>
    <dgm:cxn modelId="{F74A3914-DAB5-48DC-AA80-0FF44615F51F}" srcId="{BB06A51A-E5C3-4815-9A8A-26A9C315F2C9}" destId="{889BFDF4-ED80-4901-A111-25FB979B01BE}" srcOrd="1" destOrd="0" parTransId="{82699BE9-36A0-4364-B27B-092B1CAAF526}" sibTransId="{A9DA566C-6E73-4D9A-9E54-CDED553A92F0}"/>
    <dgm:cxn modelId="{A0393F14-4BFB-47E6-BF57-99C10F239377}" type="presOf" srcId="{4DDF4143-F981-4EAD-9C97-199D8ADE1CA6}" destId="{9D7E3D2A-F1CD-4DD9-A45E-2E38E6089D9D}" srcOrd="0" destOrd="0" presId="urn:microsoft.com/office/officeart/2005/8/layout/bList2"/>
    <dgm:cxn modelId="{06A1BA16-A715-4CF5-9482-F7C9CA81076D}" srcId="{BF86B76B-4D25-48D0-9D7B-39A830F7D6BC}" destId="{FD07E91C-7046-43AA-B707-9B569F93A4ED}" srcOrd="0" destOrd="0" parTransId="{259B1B7D-FCFD-4A90-946C-6BDA3837307F}" sibTransId="{E412A020-3511-4A7A-8663-0AFBEDD8CBD9}"/>
    <dgm:cxn modelId="{9EFDD017-DECC-4072-A432-46931FD1BB70}" srcId="{7D7BEADE-5062-48DE-94DE-BDA19850E310}" destId="{26C202F7-81A9-4496-A14C-0F0C7A8288CA}" srcOrd="1" destOrd="0" parTransId="{05C5BA8B-6560-4107-9987-54D722D85CAA}" sibTransId="{67414826-CBBF-45DF-9390-37651B965F22}"/>
    <dgm:cxn modelId="{5F608C19-7B64-46D5-AB75-7C965B3F3EDB}" type="presOf" srcId="{FD07E91C-7046-43AA-B707-9B569F93A4ED}" destId="{737986F3-B851-4A5D-88F6-F1A82441DEF9}" srcOrd="0" destOrd="0" presId="urn:microsoft.com/office/officeart/2005/8/layout/bList2"/>
    <dgm:cxn modelId="{C80B131D-E6EE-40F6-A12D-B38D900FDFE0}" srcId="{FD07E91C-7046-43AA-B707-9B569F93A4ED}" destId="{86EE1229-D4A9-47A9-9BB0-9678935912BB}" srcOrd="3" destOrd="0" parTransId="{09409B7E-5AFA-4851-89B7-AC680B600A30}" sibTransId="{C26B5D57-F1DA-4D82-BBD9-293404CEEA6E}"/>
    <dgm:cxn modelId="{9FE6281E-9EFC-4BA8-9A09-B6362F7C11E5}" type="presOf" srcId="{4063D435-9797-4535-BFA9-1BF8D357480D}" destId="{8969E77D-450B-4AA5-A0D7-1198EF98D262}" srcOrd="0" destOrd="4" presId="urn:microsoft.com/office/officeart/2005/8/layout/bList2"/>
    <dgm:cxn modelId="{886ABD1F-DDD3-41FE-A0F4-73CC7C013FE2}" type="presOf" srcId="{3CF79882-1C47-4514-AA27-40C7C574C4DB}" destId="{DAFA15F9-F5B6-4406-AE11-5EFCF813A28C}" srcOrd="0" destOrd="0" presId="urn:microsoft.com/office/officeart/2005/8/layout/bList2"/>
    <dgm:cxn modelId="{24F3CD28-0D20-49AC-BCD1-8FC6900ACB49}" srcId="{FD07E91C-7046-43AA-B707-9B569F93A4ED}" destId="{5A40D569-A2CA-4DC5-8096-EB57FC79964E}" srcOrd="0" destOrd="0" parTransId="{148A1BAE-D94C-4F65-8937-B26F380FCE9C}" sibTransId="{27A97A85-62CE-4DC3-92D4-63A5935C3A59}"/>
    <dgm:cxn modelId="{5F47D529-1380-4CFC-9214-41B5AAC1EC50}" type="presOf" srcId="{CA1FB632-7D23-4C74-8661-3F621065FC5B}" destId="{A8EB758A-B470-4A99-84C6-32322A8C0C2A}" srcOrd="0" destOrd="0" presId="urn:microsoft.com/office/officeart/2005/8/layout/bList2"/>
    <dgm:cxn modelId="{C33BDC2A-EC9B-4FE8-9B7A-01D07FC85B94}" srcId="{BF86B76B-4D25-48D0-9D7B-39A830F7D6BC}" destId="{CA1FB632-7D23-4C74-8661-3F621065FC5B}" srcOrd="5" destOrd="0" parTransId="{70B2F1C5-916C-44CA-90E1-7FEB2BAB3949}" sibTransId="{E72DA594-5EF6-49EF-B7A8-761A72DFC525}"/>
    <dgm:cxn modelId="{B8BC912C-2FBB-41E7-B551-DD1410B8345C}" type="presOf" srcId="{BB06A51A-E5C3-4815-9A8A-26A9C315F2C9}" destId="{102AB124-12EB-480F-B510-081B528C8CEC}" srcOrd="0" destOrd="0" presId="urn:microsoft.com/office/officeart/2005/8/layout/bList2"/>
    <dgm:cxn modelId="{48899838-E1AB-49ED-BA6B-A42210AFE78E}" srcId="{BF86B76B-4D25-48D0-9D7B-39A830F7D6BC}" destId="{7D7BEADE-5062-48DE-94DE-BDA19850E310}" srcOrd="4" destOrd="0" parTransId="{B0775E2E-0E0A-416F-990E-D6226B6F5F79}" sibTransId="{3AEB83EA-4798-41AA-9117-F3038C37D71B}"/>
    <dgm:cxn modelId="{14285239-5302-4F2C-8270-10576C429FF3}" srcId="{ADFEDC73-2B2E-43C0-AD58-725D1DCF174E}" destId="{B78AF61E-4D36-4D1D-9D94-995D08DC924F}" srcOrd="3" destOrd="0" parTransId="{91C7963C-DC2B-4128-A4EA-CE355504906C}" sibTransId="{6B4205C2-1472-4635-B2BB-0C5BB42B6199}"/>
    <dgm:cxn modelId="{9BBB423C-1B97-488A-986C-3AD7F31D81C8}" type="presOf" srcId="{FEB09DC5-8F2D-459A-9EE5-514B87A88EEB}" destId="{9D7E3D2A-F1CD-4DD9-A45E-2E38E6089D9D}" srcOrd="0" destOrd="1" presId="urn:microsoft.com/office/officeart/2005/8/layout/bList2"/>
    <dgm:cxn modelId="{95453D3D-ADA0-433B-B022-AA28D91D5528}" type="presOf" srcId="{7560F218-1D10-4D58-84C0-0F285BBE50BC}" destId="{EBAAD708-00D7-4493-BDC1-12B6057906A7}" srcOrd="0" destOrd="2" presId="urn:microsoft.com/office/officeart/2005/8/layout/bList2"/>
    <dgm:cxn modelId="{4C11895C-F067-401A-9436-9573BEF4CCEE}" srcId="{FD07E91C-7046-43AA-B707-9B569F93A4ED}" destId="{4063D435-9797-4535-BFA9-1BF8D357480D}" srcOrd="4" destOrd="0" parTransId="{45390E99-FC67-4D48-ACCE-DBCF43A3D4AD}" sibTransId="{2504D878-622F-4233-93E6-DFBD3F989313}"/>
    <dgm:cxn modelId="{885A7A5E-C6D0-4FC0-9B37-CAE1BCBE69B3}" type="presOf" srcId="{839741EB-AF70-4F04-8CE1-CB6A354BDA2D}" destId="{0C665551-770F-4D57-ADD8-1E8A28F25433}" srcOrd="1" destOrd="0" presId="urn:microsoft.com/office/officeart/2005/8/layout/bList2"/>
    <dgm:cxn modelId="{6379E45E-F552-42CA-8CEC-6A0F0FDC8828}" type="presOf" srcId="{BF86B76B-4D25-48D0-9D7B-39A830F7D6BC}" destId="{03380529-4442-4738-A790-D35C3D35B2FF}" srcOrd="0" destOrd="0" presId="urn:microsoft.com/office/officeart/2005/8/layout/bList2"/>
    <dgm:cxn modelId="{7717A842-E526-4826-B342-D2B53B57ABE9}" srcId="{CA1FB632-7D23-4C74-8661-3F621065FC5B}" destId="{2FA8F281-A594-4AB1-9610-DB57A2FB3620}" srcOrd="0" destOrd="0" parTransId="{F97C0F2D-B4D9-442B-9773-952EF8B0C240}" sibTransId="{57C876A5-FEB0-4A18-9B78-62FAD325766C}"/>
    <dgm:cxn modelId="{7094B344-5CE1-434F-A554-2075FD909E67}" type="presOf" srcId="{3AEB83EA-4798-41AA-9117-F3038C37D71B}" destId="{91E02F7E-BB11-4B8F-B641-4866397949A8}" srcOrd="0" destOrd="0" presId="urn:microsoft.com/office/officeart/2005/8/layout/bList2"/>
    <dgm:cxn modelId="{93594749-712B-44DE-84B3-A52F29A0B963}" type="presOf" srcId="{581246C8-181E-4878-A601-2EC72759FF4F}" destId="{11DC0853-3C95-48A0-8914-B279EF9D3451}" srcOrd="0" destOrd="0" presId="urn:microsoft.com/office/officeart/2005/8/layout/bList2"/>
    <dgm:cxn modelId="{4C4EBE4C-B5CE-4AA7-837B-BDC5955EE20E}" srcId="{7D7BEADE-5062-48DE-94DE-BDA19850E310}" destId="{3CF79882-1C47-4514-AA27-40C7C574C4DB}" srcOrd="0" destOrd="0" parTransId="{8E2A1C3C-4237-4BC2-8069-1AA25F374816}" sibTransId="{C092D800-1BAB-4DAA-A0A3-AA1E090E212B}"/>
    <dgm:cxn modelId="{B41ACD74-4B5E-41C9-819B-F94070C5F62C}" type="presOf" srcId="{5A40D569-A2CA-4DC5-8096-EB57FC79964E}" destId="{8969E77D-450B-4AA5-A0D7-1198EF98D262}" srcOrd="0" destOrd="0" presId="urn:microsoft.com/office/officeart/2005/8/layout/bList2"/>
    <dgm:cxn modelId="{61A15875-801D-4922-B416-70F4FFAD4EA5}" srcId="{BF86B76B-4D25-48D0-9D7B-39A830F7D6BC}" destId="{BB06A51A-E5C3-4815-9A8A-26A9C315F2C9}" srcOrd="1" destOrd="0" parTransId="{3B1A6EF0-EDC6-4F66-8B33-1341E176D8C1}" sibTransId="{9F92ED19-1724-43E6-95B0-EF6C9BED8AE0}"/>
    <dgm:cxn modelId="{E60B8855-41FE-4451-8269-7FF01286C5DB}" type="presOf" srcId="{4984D47A-45EE-4FDD-B815-BA171D1C5A36}" destId="{63298AE1-0B1E-4F2F-9FE9-40C2F82C9870}" srcOrd="0" destOrd="0" presId="urn:microsoft.com/office/officeart/2005/8/layout/bList2"/>
    <dgm:cxn modelId="{E189B17E-C207-46A0-BB31-0EC3E70DE177}" type="presOf" srcId="{178528A9-B31D-459D-890B-51C8871663DA}" destId="{11DC0853-3C95-48A0-8914-B279EF9D3451}" srcOrd="0" destOrd="1" presId="urn:microsoft.com/office/officeart/2005/8/layout/bList2"/>
    <dgm:cxn modelId="{51BA357F-EB43-42CE-8981-3A645D8B22A4}" type="presOf" srcId="{7D7BEADE-5062-48DE-94DE-BDA19850E310}" destId="{8B7FD021-6E0C-40A6-9B5F-918B4B042299}" srcOrd="1" destOrd="0" presId="urn:microsoft.com/office/officeart/2005/8/layout/bList2"/>
    <dgm:cxn modelId="{CE542488-D4E0-4ACF-B51E-EE1D6AEB6F65}" srcId="{CA1FB632-7D23-4C74-8661-3F621065FC5B}" destId="{A2551323-DBDF-4347-A140-A437DF87E43D}" srcOrd="1" destOrd="0" parTransId="{DDDE3D95-6301-43DF-AC7C-8770E3C744F9}" sibTransId="{6959CC38-679D-4D2C-B824-EE08B52585BF}"/>
    <dgm:cxn modelId="{0D2D9288-5573-4729-9220-79BC56DC0B7A}" type="presOf" srcId="{1721E8E1-C089-4FFE-BBEE-283977BBB4E7}" destId="{49D40827-C37B-462A-8830-3781D78F9E47}" srcOrd="1" destOrd="0" presId="urn:microsoft.com/office/officeart/2005/8/layout/bList2"/>
    <dgm:cxn modelId="{4FD4608A-C73C-4723-9BFA-AFF2EA479741}" srcId="{BB06A51A-E5C3-4815-9A8A-26A9C315F2C9}" destId="{0DF4D955-4B58-4192-B96A-5A1EC6A75178}" srcOrd="0" destOrd="0" parTransId="{6D28E786-5991-4282-87DE-C9B35681583F}" sibTransId="{DF161DF0-88C7-4ABB-AD82-F3107949F571}"/>
    <dgm:cxn modelId="{8FB0A48B-5D26-4FDD-BC7E-6E12DCD81551}" srcId="{FD07E91C-7046-43AA-B707-9B569F93A4ED}" destId="{3C0E2922-E9B9-40C8-A811-8CEEE3303084}" srcOrd="1" destOrd="0" parTransId="{660AA7A1-3C51-4092-9406-183C6A636C90}" sibTransId="{A8915ADB-DF8A-4F42-A3DC-E28A17AECE58}"/>
    <dgm:cxn modelId="{34F9B48F-B965-4478-9654-2DC32A680C02}" srcId="{CA1FB632-7D23-4C74-8661-3F621065FC5B}" destId="{7560F218-1D10-4D58-84C0-0F285BBE50BC}" srcOrd="2" destOrd="0" parTransId="{79CBB9AB-E975-4131-994C-38E48D9387BA}" sibTransId="{92974BE0-09B8-49D3-8783-6164B0373553}"/>
    <dgm:cxn modelId="{74091998-69A2-4CAA-9D31-37B080650EBB}" srcId="{ADFEDC73-2B2E-43C0-AD58-725D1DCF174E}" destId="{F37F02E3-CBA1-4CBE-9B22-A5C4268EF28F}" srcOrd="2" destOrd="0" parTransId="{4E44D3AB-4158-43C1-8BBA-4C05832B36E2}" sibTransId="{BB6C094C-874C-445E-800F-176F2A2D773E}"/>
    <dgm:cxn modelId="{F39B409A-2A6C-41C4-9A73-B0404677101A}" srcId="{BB06A51A-E5C3-4815-9A8A-26A9C315F2C9}" destId="{ECBF0E7D-1D53-41E9-B58F-C2DA73CE6F7C}" srcOrd="2" destOrd="0" parTransId="{DD0442FE-634D-48AA-BCA0-27D254A5E090}" sibTransId="{29F5F36B-8BD2-4081-9AF4-897933235905}"/>
    <dgm:cxn modelId="{8027379B-0991-4E34-8ACF-0CEBCF7AD8C6}" type="presOf" srcId="{A2551323-DBDF-4347-A140-A437DF87E43D}" destId="{EBAAD708-00D7-4493-BDC1-12B6057906A7}" srcOrd="0" destOrd="1" presId="urn:microsoft.com/office/officeart/2005/8/layout/bList2"/>
    <dgm:cxn modelId="{0DCCD3A0-F1AB-4D90-93C9-3ABD857054E4}" type="presOf" srcId="{3C0E2922-E9B9-40C8-A811-8CEEE3303084}" destId="{8969E77D-450B-4AA5-A0D7-1198EF98D262}" srcOrd="0" destOrd="1" presId="urn:microsoft.com/office/officeart/2005/8/layout/bList2"/>
    <dgm:cxn modelId="{E4B669A1-1DE9-47FB-A114-BAFA995D43FE}" type="presOf" srcId="{7D7BEADE-5062-48DE-94DE-BDA19850E310}" destId="{2FB54CA6-FB20-48A0-B936-73347A6D0662}" srcOrd="0" destOrd="0" presId="urn:microsoft.com/office/officeart/2005/8/layout/bList2"/>
    <dgm:cxn modelId="{F4035AAD-7212-41AC-AC4B-9548A5CEF27C}" type="presOf" srcId="{B78AF61E-4D36-4D1D-9D94-995D08DC924F}" destId="{11DC0853-3C95-48A0-8914-B279EF9D3451}" srcOrd="0" destOrd="3" presId="urn:microsoft.com/office/officeart/2005/8/layout/bList2"/>
    <dgm:cxn modelId="{C63ACBB1-939C-4627-BA3D-06337861DDC4}" type="presOf" srcId="{7EDDF440-80B6-4AC2-B1A4-A3D252D2AFE3}" destId="{9D7E3D2A-F1CD-4DD9-A45E-2E38E6089D9D}" srcOrd="0" destOrd="2" presId="urn:microsoft.com/office/officeart/2005/8/layout/bList2"/>
    <dgm:cxn modelId="{71B3D8B4-7742-4F5A-AED1-66C7334C53E9}" type="presOf" srcId="{F37F02E3-CBA1-4CBE-9B22-A5C4268EF28F}" destId="{11DC0853-3C95-48A0-8914-B279EF9D3451}" srcOrd="0" destOrd="2" presId="urn:microsoft.com/office/officeart/2005/8/layout/bList2"/>
    <dgm:cxn modelId="{37CC79B7-AE45-4C1A-8676-FA910A06B2DE}" type="presOf" srcId="{1B88233D-81ED-49A9-A83C-E8279FC70E5F}" destId="{DAFA15F9-F5B6-4406-AE11-5EFCF813A28C}" srcOrd="0" destOrd="2" presId="urn:microsoft.com/office/officeart/2005/8/layout/bList2"/>
    <dgm:cxn modelId="{39BF5FBC-0A68-4361-B59A-7D49CED77783}" type="presOf" srcId="{6A8ADEC0-2A0D-4067-9DA1-C9A0DDF26CEA}" destId="{79BAC803-CD8B-4D4D-A91A-1BFC6FF553B3}" srcOrd="0" destOrd="0" presId="urn:microsoft.com/office/officeart/2005/8/layout/bList2"/>
    <dgm:cxn modelId="{2314E4C2-BDD5-47E1-8E61-E548FCDB938B}" srcId="{ADFEDC73-2B2E-43C0-AD58-725D1DCF174E}" destId="{178528A9-B31D-459D-890B-51C8871663DA}" srcOrd="1" destOrd="0" parTransId="{986006F1-5FA9-4781-BC78-B3ACFD3BFA71}" sibTransId="{6849799C-A973-4335-8836-58BA2C641BC4}"/>
    <dgm:cxn modelId="{CCB565C5-1438-42D3-8D7A-0DCA9E88FB35}" type="presOf" srcId="{ADFEDC73-2B2E-43C0-AD58-725D1DCF174E}" destId="{813E9E72-B8C5-4FD7-A1C8-FE5434B134AB}" srcOrd="1" destOrd="0" presId="urn:microsoft.com/office/officeart/2005/8/layout/bList2"/>
    <dgm:cxn modelId="{A791EEC5-1C7F-46A9-867C-AAF94DFC4156}" srcId="{7D7BEADE-5062-48DE-94DE-BDA19850E310}" destId="{1B88233D-81ED-49A9-A83C-E8279FC70E5F}" srcOrd="2" destOrd="0" parTransId="{2A82E623-1A38-4448-BC70-EA01AA5C940E}" sibTransId="{D2EC917D-665D-4555-AF2F-1AC5F8CCF642}"/>
    <dgm:cxn modelId="{64931EC9-D2AF-48FE-A639-CE01BDB3B36A}" type="presOf" srcId="{D6544E59-53C7-4362-82D3-269E2EFD0C4B}" destId="{D21577B0-F1B9-4247-9E73-8138B13E418F}" srcOrd="0" destOrd="0" presId="urn:microsoft.com/office/officeart/2005/8/layout/bList2"/>
    <dgm:cxn modelId="{656EFECB-31D1-4FFD-BB34-2078418E79CC}" type="presOf" srcId="{2FA8F281-A594-4AB1-9610-DB57A2FB3620}" destId="{EBAAD708-00D7-4493-BDC1-12B6057906A7}" srcOrd="0" destOrd="0" presId="urn:microsoft.com/office/officeart/2005/8/layout/bList2"/>
    <dgm:cxn modelId="{A638E6D7-4049-4742-8011-B0E1ACE3F2BD}" type="presOf" srcId="{CA1FB632-7D23-4C74-8661-3F621065FC5B}" destId="{0F6780AD-6FF0-481B-941D-33FB86F3EB15}" srcOrd="1" destOrd="0" presId="urn:microsoft.com/office/officeart/2005/8/layout/bList2"/>
    <dgm:cxn modelId="{2558ECD7-F9F8-4E42-9511-431B2175C82A}" srcId="{1721E8E1-C089-4FFE-BBEE-283977BBB4E7}" destId="{FEB09DC5-8F2D-459A-9EE5-514B87A88EEB}" srcOrd="1" destOrd="0" parTransId="{60A313CB-EA6E-413C-93C2-76978110E437}" sibTransId="{5C136DB2-2B2D-4D97-B591-A8200C4CDCC8}"/>
    <dgm:cxn modelId="{E9FB0BD8-4454-4E0C-BC0C-911BC5ED5712}" type="presOf" srcId="{FD07E91C-7046-43AA-B707-9B569F93A4ED}" destId="{D205654F-51A3-4FAE-BE99-C43D0F29D35C}" srcOrd="1" destOrd="0" presId="urn:microsoft.com/office/officeart/2005/8/layout/bList2"/>
    <dgm:cxn modelId="{D98845E4-818C-4B71-BC78-F89468CD04C5}" srcId="{839741EB-AF70-4F04-8CE1-CB6A354BDA2D}" destId="{516B408B-B909-40EE-BE7A-256FE7D4FECB}" srcOrd="1" destOrd="0" parTransId="{E0539F7D-5CFD-48C3-B777-8F60C333D9CA}" sibTransId="{EBA97A5B-BBF4-4045-B728-CEB0B7C412DD}"/>
    <dgm:cxn modelId="{09043AE5-9578-43CE-9415-A0EDAF1E5DF0}" type="presOf" srcId="{86EE1229-D4A9-47A9-9BB0-9678935912BB}" destId="{8969E77D-450B-4AA5-A0D7-1198EF98D262}" srcOrd="0" destOrd="3" presId="urn:microsoft.com/office/officeart/2005/8/layout/bList2"/>
    <dgm:cxn modelId="{1FBC2FE6-C10A-41FA-BCB7-64BA6FC17F6E}" srcId="{839741EB-AF70-4F04-8CE1-CB6A354BDA2D}" destId="{4984D47A-45EE-4FDD-B815-BA171D1C5A36}" srcOrd="0" destOrd="0" parTransId="{48B0C528-15C2-4110-8B68-EB5B1CE2CE5B}" sibTransId="{1FDBDAE1-C54E-4A8D-AE5C-81FFC5B2141B}"/>
    <dgm:cxn modelId="{843F6CE7-A12F-4E49-820B-C045937DD429}" type="presOf" srcId="{ECBF0E7D-1D53-41E9-B58F-C2DA73CE6F7C}" destId="{33702B15-9095-4FA4-8821-B11AC9EBEFC2}" srcOrd="0" destOrd="2" presId="urn:microsoft.com/office/officeart/2005/8/layout/bList2"/>
    <dgm:cxn modelId="{6CCEDDED-323F-41A7-A6F1-F80D67885A7F}" type="presOf" srcId="{839741EB-AF70-4F04-8CE1-CB6A354BDA2D}" destId="{0BD928BB-9FB9-45AA-9F1D-B3A252A776DF}" srcOrd="0" destOrd="0" presId="urn:microsoft.com/office/officeart/2005/8/layout/bList2"/>
    <dgm:cxn modelId="{EC0D32F2-F017-4128-A51A-1F706151257D}" srcId="{BF86B76B-4D25-48D0-9D7B-39A830F7D6BC}" destId="{839741EB-AF70-4F04-8CE1-CB6A354BDA2D}" srcOrd="3" destOrd="0" parTransId="{01DE0FEF-9F58-4FED-835A-FCF288F7D0C3}" sibTransId="{D6544E59-53C7-4362-82D3-269E2EFD0C4B}"/>
    <dgm:cxn modelId="{A49DC3F5-4B22-41D8-8A11-8D4ED29FC965}" srcId="{FD07E91C-7046-43AA-B707-9B569F93A4ED}" destId="{C70DC36B-8303-4652-8BF1-0D84A29FCFED}" srcOrd="2" destOrd="0" parTransId="{9C13C528-66CB-44F5-B93C-45BE5455BA2C}" sibTransId="{F2A89874-3374-45FA-B8DF-6F716C7C2BAA}"/>
    <dgm:cxn modelId="{D8A129F6-AA45-4309-BD36-F8823891D05E}" type="presOf" srcId="{E72DA594-5EF6-49EF-B7A8-761A72DFC525}" destId="{36489D48-03D6-4FE4-84E5-8A76C77942E2}" srcOrd="0" destOrd="0" presId="urn:microsoft.com/office/officeart/2005/8/layout/bList2"/>
    <dgm:cxn modelId="{545E47F6-57BE-4CF9-A07F-ED9974424743}" type="presOf" srcId="{BB06A51A-E5C3-4815-9A8A-26A9C315F2C9}" destId="{63BDA6B1-2B38-4AE2-AC0A-4100D50825C7}" srcOrd="1" destOrd="0" presId="urn:microsoft.com/office/officeart/2005/8/layout/bList2"/>
    <dgm:cxn modelId="{E87DDCF7-1512-4719-BD1C-BA92B598B14D}" type="presOf" srcId="{516B408B-B909-40EE-BE7A-256FE7D4FECB}" destId="{63298AE1-0B1E-4F2F-9FE9-40C2F82C9870}" srcOrd="0" destOrd="1" presId="urn:microsoft.com/office/officeart/2005/8/layout/bList2"/>
    <dgm:cxn modelId="{55B62AF8-2210-4A2E-91B7-9AA5CF63BEA4}" type="presOf" srcId="{1721E8E1-C089-4FFE-BBEE-283977BBB4E7}" destId="{BB249775-B93F-4D41-8748-455120B86C4B}" srcOrd="0" destOrd="0" presId="urn:microsoft.com/office/officeart/2005/8/layout/bList2"/>
    <dgm:cxn modelId="{15DBDAF9-0A7F-43C1-86A8-00FDBB9B3DE9}" srcId="{1721E8E1-C089-4FFE-BBEE-283977BBB4E7}" destId="{4DDF4143-F981-4EAD-9C97-199D8ADE1CA6}" srcOrd="0" destOrd="0" parTransId="{7072F69A-1BAC-4AAC-8796-151D2B09D0B7}" sibTransId="{AFBE715B-A6DD-429F-B539-0A0C194394A1}"/>
    <dgm:cxn modelId="{6CB8F1F9-9E69-4E00-B8C0-9A547B0570E1}" srcId="{BF86B76B-4D25-48D0-9D7B-39A830F7D6BC}" destId="{ADFEDC73-2B2E-43C0-AD58-725D1DCF174E}" srcOrd="2" destOrd="0" parTransId="{49E9D818-2678-4347-B551-422D01E8C3E3}" sibTransId="{6A8ADEC0-2A0D-4067-9DA1-C9A0DDF26CEA}"/>
    <dgm:cxn modelId="{E09774FA-219F-4706-8489-05B8AC385192}" type="presOf" srcId="{26C202F7-81A9-4496-A14C-0F0C7A8288CA}" destId="{DAFA15F9-F5B6-4406-AE11-5EFCF813A28C}" srcOrd="0" destOrd="1" presId="urn:microsoft.com/office/officeart/2005/8/layout/bList2"/>
    <dgm:cxn modelId="{5A62D2FA-D403-4AEC-A84C-10AB3CA5B231}" type="presOf" srcId="{889BFDF4-ED80-4901-A111-25FB979B01BE}" destId="{33702B15-9095-4FA4-8821-B11AC9EBEFC2}" srcOrd="0" destOrd="1" presId="urn:microsoft.com/office/officeart/2005/8/layout/bList2"/>
    <dgm:cxn modelId="{06687AFB-08AB-4C0B-8662-123E7CD5D07F}" type="presOf" srcId="{0DF4D955-4B58-4192-B96A-5A1EC6A75178}" destId="{33702B15-9095-4FA4-8821-B11AC9EBEFC2}" srcOrd="0" destOrd="0" presId="urn:microsoft.com/office/officeart/2005/8/layout/bList2"/>
    <dgm:cxn modelId="{D51A0EA8-B970-4EC0-9C5F-1E6F2BF23D8A}" type="presParOf" srcId="{03380529-4442-4738-A790-D35C3D35B2FF}" destId="{3389DA64-A6E1-4AF1-B487-996A8892449C}" srcOrd="0" destOrd="0" presId="urn:microsoft.com/office/officeart/2005/8/layout/bList2"/>
    <dgm:cxn modelId="{AC993840-C9EF-4F31-A619-9A518460558E}" type="presParOf" srcId="{3389DA64-A6E1-4AF1-B487-996A8892449C}" destId="{8969E77D-450B-4AA5-A0D7-1198EF98D262}" srcOrd="0" destOrd="0" presId="urn:microsoft.com/office/officeart/2005/8/layout/bList2"/>
    <dgm:cxn modelId="{51C1B4D3-D43B-4821-ADEB-7BDA33993A36}" type="presParOf" srcId="{3389DA64-A6E1-4AF1-B487-996A8892449C}" destId="{737986F3-B851-4A5D-88F6-F1A82441DEF9}" srcOrd="1" destOrd="0" presId="urn:microsoft.com/office/officeart/2005/8/layout/bList2"/>
    <dgm:cxn modelId="{7ACA6702-6261-479B-9755-47047DA10F4E}" type="presParOf" srcId="{3389DA64-A6E1-4AF1-B487-996A8892449C}" destId="{D205654F-51A3-4FAE-BE99-C43D0F29D35C}" srcOrd="2" destOrd="0" presId="urn:microsoft.com/office/officeart/2005/8/layout/bList2"/>
    <dgm:cxn modelId="{F53E095D-6E50-4BD8-A051-E8B0AAAF21DF}" type="presParOf" srcId="{3389DA64-A6E1-4AF1-B487-996A8892449C}" destId="{53654164-1169-41BD-8EFC-F0F3257C3B0A}" srcOrd="3" destOrd="0" presId="urn:microsoft.com/office/officeart/2005/8/layout/bList2"/>
    <dgm:cxn modelId="{62CD4A37-74EF-41C0-A541-DF8363E493C8}" type="presParOf" srcId="{03380529-4442-4738-A790-D35C3D35B2FF}" destId="{3C87AD43-0AD8-428C-9AFA-3554C295DCBC}" srcOrd="1" destOrd="0" presId="urn:microsoft.com/office/officeart/2005/8/layout/bList2"/>
    <dgm:cxn modelId="{91449B50-EF6E-4AD8-AF14-110E26F7EB81}" type="presParOf" srcId="{03380529-4442-4738-A790-D35C3D35B2FF}" destId="{3B496D88-7194-4440-BC79-C7FB38DE0CD6}" srcOrd="2" destOrd="0" presId="urn:microsoft.com/office/officeart/2005/8/layout/bList2"/>
    <dgm:cxn modelId="{C1544857-EA38-4BDF-848A-70AF2F7CE6A1}" type="presParOf" srcId="{3B496D88-7194-4440-BC79-C7FB38DE0CD6}" destId="{33702B15-9095-4FA4-8821-B11AC9EBEFC2}" srcOrd="0" destOrd="0" presId="urn:microsoft.com/office/officeart/2005/8/layout/bList2"/>
    <dgm:cxn modelId="{AA9CACA0-0FDB-4FA3-8C80-DB8F335E3949}" type="presParOf" srcId="{3B496D88-7194-4440-BC79-C7FB38DE0CD6}" destId="{102AB124-12EB-480F-B510-081B528C8CEC}" srcOrd="1" destOrd="0" presId="urn:microsoft.com/office/officeart/2005/8/layout/bList2"/>
    <dgm:cxn modelId="{72919B15-107D-467E-9C38-D8E4C9A37B47}" type="presParOf" srcId="{3B496D88-7194-4440-BC79-C7FB38DE0CD6}" destId="{63BDA6B1-2B38-4AE2-AC0A-4100D50825C7}" srcOrd="2" destOrd="0" presId="urn:microsoft.com/office/officeart/2005/8/layout/bList2"/>
    <dgm:cxn modelId="{0677AADF-1357-445B-BEFF-950D7C6577D7}" type="presParOf" srcId="{3B496D88-7194-4440-BC79-C7FB38DE0CD6}" destId="{C3295073-1100-4C99-8DBE-A1041DE3314E}" srcOrd="3" destOrd="0" presId="urn:microsoft.com/office/officeart/2005/8/layout/bList2"/>
    <dgm:cxn modelId="{741E95D3-8ABD-44D1-9A1B-9BEEDCDD29F2}" type="presParOf" srcId="{03380529-4442-4738-A790-D35C3D35B2FF}" destId="{5ADC0861-C82E-454D-BD90-559DC9444550}" srcOrd="3" destOrd="0" presId="urn:microsoft.com/office/officeart/2005/8/layout/bList2"/>
    <dgm:cxn modelId="{757A3DDC-4643-4F79-87CE-EFB2EDB6ACD2}" type="presParOf" srcId="{03380529-4442-4738-A790-D35C3D35B2FF}" destId="{5BEF81D2-4084-45D8-B93A-C243F6FBCA95}" srcOrd="4" destOrd="0" presId="urn:microsoft.com/office/officeart/2005/8/layout/bList2"/>
    <dgm:cxn modelId="{EA5BD869-D57D-4121-9A9F-B7603D20D207}" type="presParOf" srcId="{5BEF81D2-4084-45D8-B93A-C243F6FBCA95}" destId="{11DC0853-3C95-48A0-8914-B279EF9D3451}" srcOrd="0" destOrd="0" presId="urn:microsoft.com/office/officeart/2005/8/layout/bList2"/>
    <dgm:cxn modelId="{CBC4CC1E-BF0E-4AB6-9EA3-90A0C19F58E6}" type="presParOf" srcId="{5BEF81D2-4084-45D8-B93A-C243F6FBCA95}" destId="{AD9F7918-4D7E-42F5-ADBE-CEE5B6F73579}" srcOrd="1" destOrd="0" presId="urn:microsoft.com/office/officeart/2005/8/layout/bList2"/>
    <dgm:cxn modelId="{109FA831-F963-4A5C-A8A4-C0AF588210B5}" type="presParOf" srcId="{5BEF81D2-4084-45D8-B93A-C243F6FBCA95}" destId="{813E9E72-B8C5-4FD7-A1C8-FE5434B134AB}" srcOrd="2" destOrd="0" presId="urn:microsoft.com/office/officeart/2005/8/layout/bList2"/>
    <dgm:cxn modelId="{1307F8A3-D56A-4828-867F-B21CF9330FEB}" type="presParOf" srcId="{5BEF81D2-4084-45D8-B93A-C243F6FBCA95}" destId="{2A3C153A-B69D-4383-8F06-C0B5B631BCF6}" srcOrd="3" destOrd="0" presId="urn:microsoft.com/office/officeart/2005/8/layout/bList2"/>
    <dgm:cxn modelId="{71B39FE3-B838-43C3-9360-481AD5531E83}" type="presParOf" srcId="{03380529-4442-4738-A790-D35C3D35B2FF}" destId="{79BAC803-CD8B-4D4D-A91A-1BFC6FF553B3}" srcOrd="5" destOrd="0" presId="urn:microsoft.com/office/officeart/2005/8/layout/bList2"/>
    <dgm:cxn modelId="{46741BA5-D187-4D48-9B4B-2256C111B9F3}" type="presParOf" srcId="{03380529-4442-4738-A790-D35C3D35B2FF}" destId="{64D717DD-92EE-4060-9F48-A801A15D78E9}" srcOrd="6" destOrd="0" presId="urn:microsoft.com/office/officeart/2005/8/layout/bList2"/>
    <dgm:cxn modelId="{7CA55E24-601A-4177-91EC-B60F54DB239F}" type="presParOf" srcId="{64D717DD-92EE-4060-9F48-A801A15D78E9}" destId="{63298AE1-0B1E-4F2F-9FE9-40C2F82C9870}" srcOrd="0" destOrd="0" presId="urn:microsoft.com/office/officeart/2005/8/layout/bList2"/>
    <dgm:cxn modelId="{8BEE2E26-B482-4E94-8C4D-BEEB3960BFFB}" type="presParOf" srcId="{64D717DD-92EE-4060-9F48-A801A15D78E9}" destId="{0BD928BB-9FB9-45AA-9F1D-B3A252A776DF}" srcOrd="1" destOrd="0" presId="urn:microsoft.com/office/officeart/2005/8/layout/bList2"/>
    <dgm:cxn modelId="{AFEEA28C-844F-41B6-AA51-1F8DE30FF0AB}" type="presParOf" srcId="{64D717DD-92EE-4060-9F48-A801A15D78E9}" destId="{0C665551-770F-4D57-ADD8-1E8A28F25433}" srcOrd="2" destOrd="0" presId="urn:microsoft.com/office/officeart/2005/8/layout/bList2"/>
    <dgm:cxn modelId="{F9B12F93-FDAF-4687-ABA6-02662A8587FF}" type="presParOf" srcId="{64D717DD-92EE-4060-9F48-A801A15D78E9}" destId="{D866364E-1252-4458-8A32-9B69140072FF}" srcOrd="3" destOrd="0" presId="urn:microsoft.com/office/officeart/2005/8/layout/bList2"/>
    <dgm:cxn modelId="{4D41D211-5D84-4607-B2C2-1B85E584B61E}" type="presParOf" srcId="{03380529-4442-4738-A790-D35C3D35B2FF}" destId="{D21577B0-F1B9-4247-9E73-8138B13E418F}" srcOrd="7" destOrd="0" presId="urn:microsoft.com/office/officeart/2005/8/layout/bList2"/>
    <dgm:cxn modelId="{ED470232-D784-4AC9-B0FB-ADA0049F31BC}" type="presParOf" srcId="{03380529-4442-4738-A790-D35C3D35B2FF}" destId="{4A922AE4-6B6C-4683-B4C4-E002C52483EF}" srcOrd="8" destOrd="0" presId="urn:microsoft.com/office/officeart/2005/8/layout/bList2"/>
    <dgm:cxn modelId="{F19F6D5F-B7B3-46FE-9205-023046170C33}" type="presParOf" srcId="{4A922AE4-6B6C-4683-B4C4-E002C52483EF}" destId="{DAFA15F9-F5B6-4406-AE11-5EFCF813A28C}" srcOrd="0" destOrd="0" presId="urn:microsoft.com/office/officeart/2005/8/layout/bList2"/>
    <dgm:cxn modelId="{CDA80B4B-135A-4E76-8FCA-AA9C229F19DD}" type="presParOf" srcId="{4A922AE4-6B6C-4683-B4C4-E002C52483EF}" destId="{2FB54CA6-FB20-48A0-B936-73347A6D0662}" srcOrd="1" destOrd="0" presId="urn:microsoft.com/office/officeart/2005/8/layout/bList2"/>
    <dgm:cxn modelId="{1585E6A6-0EB3-43F3-9CA0-15CF0A56FFB2}" type="presParOf" srcId="{4A922AE4-6B6C-4683-B4C4-E002C52483EF}" destId="{8B7FD021-6E0C-40A6-9B5F-918B4B042299}" srcOrd="2" destOrd="0" presId="urn:microsoft.com/office/officeart/2005/8/layout/bList2"/>
    <dgm:cxn modelId="{A7A43151-6D7C-4AB6-BA68-EB8936D598E0}" type="presParOf" srcId="{4A922AE4-6B6C-4683-B4C4-E002C52483EF}" destId="{2B68F48A-8B70-478C-9F52-0D527B153546}" srcOrd="3" destOrd="0" presId="urn:microsoft.com/office/officeart/2005/8/layout/bList2"/>
    <dgm:cxn modelId="{3E3C24E1-940A-4DB3-95E6-209983F626DE}" type="presParOf" srcId="{03380529-4442-4738-A790-D35C3D35B2FF}" destId="{91E02F7E-BB11-4B8F-B641-4866397949A8}" srcOrd="9" destOrd="0" presId="urn:microsoft.com/office/officeart/2005/8/layout/bList2"/>
    <dgm:cxn modelId="{283A15F9-DA9A-4A22-B038-DA9C5E2D1FB3}" type="presParOf" srcId="{03380529-4442-4738-A790-D35C3D35B2FF}" destId="{5AC90E4B-70F2-4041-A278-85B1AA4EB005}" srcOrd="10" destOrd="0" presId="urn:microsoft.com/office/officeart/2005/8/layout/bList2"/>
    <dgm:cxn modelId="{0B7F8903-B23C-49B4-BE99-8A857823AA9F}" type="presParOf" srcId="{5AC90E4B-70F2-4041-A278-85B1AA4EB005}" destId="{EBAAD708-00D7-4493-BDC1-12B6057906A7}" srcOrd="0" destOrd="0" presId="urn:microsoft.com/office/officeart/2005/8/layout/bList2"/>
    <dgm:cxn modelId="{033436A9-1D18-43E5-8758-8096223C4586}" type="presParOf" srcId="{5AC90E4B-70F2-4041-A278-85B1AA4EB005}" destId="{A8EB758A-B470-4A99-84C6-32322A8C0C2A}" srcOrd="1" destOrd="0" presId="urn:microsoft.com/office/officeart/2005/8/layout/bList2"/>
    <dgm:cxn modelId="{F4195C85-3D17-49C0-AC87-29D77002B9EF}" type="presParOf" srcId="{5AC90E4B-70F2-4041-A278-85B1AA4EB005}" destId="{0F6780AD-6FF0-481B-941D-33FB86F3EB15}" srcOrd="2" destOrd="0" presId="urn:microsoft.com/office/officeart/2005/8/layout/bList2"/>
    <dgm:cxn modelId="{6BD78DC4-6DA9-4AF5-BFD9-9E010D68DA94}" type="presParOf" srcId="{5AC90E4B-70F2-4041-A278-85B1AA4EB005}" destId="{05FE2D10-5428-4ADF-A07E-A42426C46C52}" srcOrd="3" destOrd="0" presId="urn:microsoft.com/office/officeart/2005/8/layout/bList2"/>
    <dgm:cxn modelId="{137EBD01-7AC7-4542-A24E-FDE7BE0271E4}" type="presParOf" srcId="{03380529-4442-4738-A790-D35C3D35B2FF}" destId="{36489D48-03D6-4FE4-84E5-8A76C77942E2}" srcOrd="11" destOrd="0" presId="urn:microsoft.com/office/officeart/2005/8/layout/bList2"/>
    <dgm:cxn modelId="{DE07EC76-5423-4008-B4BC-CCA7B8EBC7F1}" type="presParOf" srcId="{03380529-4442-4738-A790-D35C3D35B2FF}" destId="{574A7155-F78B-4E57-9B61-E4169DB610B9}" srcOrd="12" destOrd="0" presId="urn:microsoft.com/office/officeart/2005/8/layout/bList2"/>
    <dgm:cxn modelId="{A6C42E4F-6E1A-444B-B3D0-F9589B5E0FB0}" type="presParOf" srcId="{574A7155-F78B-4E57-9B61-E4169DB610B9}" destId="{9D7E3D2A-F1CD-4DD9-A45E-2E38E6089D9D}" srcOrd="0" destOrd="0" presId="urn:microsoft.com/office/officeart/2005/8/layout/bList2"/>
    <dgm:cxn modelId="{9D4ADDB0-0935-42FA-82D8-061879F6ADB1}" type="presParOf" srcId="{574A7155-F78B-4E57-9B61-E4169DB610B9}" destId="{BB249775-B93F-4D41-8748-455120B86C4B}" srcOrd="1" destOrd="0" presId="urn:microsoft.com/office/officeart/2005/8/layout/bList2"/>
    <dgm:cxn modelId="{7C0E3DA2-EDD8-441E-99C8-56E66A184F32}" type="presParOf" srcId="{574A7155-F78B-4E57-9B61-E4169DB610B9}" destId="{49D40827-C37B-462A-8830-3781D78F9E47}" srcOrd="2" destOrd="0" presId="urn:microsoft.com/office/officeart/2005/8/layout/bList2"/>
    <dgm:cxn modelId="{9D0B2383-24B7-4AFF-81E0-1E93A60D0562}" type="presParOf" srcId="{574A7155-F78B-4E57-9B61-E4169DB610B9}" destId="{1FE2202C-CE03-4175-93F8-B669AAABE73F}" srcOrd="3" destOrd="0" presId="urn:microsoft.com/office/officeart/2005/8/layout/b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Business Understanding</a:t>
          </a: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latin typeface="+mj-lt"/>
            </a:rPr>
            <a:t>Ingest Data</a:t>
          </a:r>
        </a:p>
        <a:p>
          <a:pPr marL="171450" lvl="1" indent="-171450" algn="l" defTabSz="844550">
            <a:lnSpc>
              <a:spcPct val="90000"/>
            </a:lnSpc>
            <a:spcBef>
              <a:spcPct val="0"/>
            </a:spcBef>
            <a:spcAft>
              <a:spcPct val="15000"/>
            </a:spcAft>
            <a:buChar char="•"/>
          </a:pPr>
          <a:r>
            <a:rPr lang="en-US" sz="1900" kern="1200" dirty="0">
              <a:latin typeface="+mj-lt"/>
            </a:rPr>
            <a:t>Explore Data</a:t>
          </a:r>
        </a:p>
        <a:p>
          <a:pPr marL="171450" lvl="1" indent="-171450" algn="l" defTabSz="844550">
            <a:lnSpc>
              <a:spcPct val="90000"/>
            </a:lnSpc>
            <a:spcBef>
              <a:spcPct val="0"/>
            </a:spcBef>
            <a:spcAft>
              <a:spcPct val="15000"/>
            </a:spcAft>
            <a:buChar char="•"/>
          </a:pPr>
          <a:r>
            <a:rPr lang="en-US" sz="1900" kern="1200" dirty="0">
              <a:latin typeface="+mj-lt"/>
            </a:rPr>
            <a:t>Update Data</a:t>
          </a: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Data Acquisition and Understanding</a:t>
          </a: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Modeling</a:t>
          </a: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Deployment</a:t>
          </a: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latin typeface="+mj-lt"/>
            </a:rPr>
            <a:t>Testing and Validation</a:t>
          </a:r>
        </a:p>
        <a:p>
          <a:pPr marL="171450" lvl="1" indent="-171450" algn="l" defTabSz="844550">
            <a:lnSpc>
              <a:spcPct val="90000"/>
            </a:lnSpc>
            <a:spcBef>
              <a:spcPct val="0"/>
            </a:spcBef>
            <a:spcAft>
              <a:spcPct val="15000"/>
            </a:spcAft>
            <a:buChar char="•"/>
          </a:pPr>
          <a:r>
            <a:rPr lang="en-US" sz="1900" kern="1200" dirty="0">
              <a:latin typeface="+mj-lt"/>
            </a:rPr>
            <a:t>Handoff</a:t>
          </a:r>
        </a:p>
        <a:p>
          <a:pPr marL="171450" lvl="1" indent="-171450" algn="l" defTabSz="844550">
            <a:lnSpc>
              <a:spcPct val="90000"/>
            </a:lnSpc>
            <a:spcBef>
              <a:spcPct val="0"/>
            </a:spcBef>
            <a:spcAft>
              <a:spcPct val="15000"/>
            </a:spcAft>
            <a:buChar char="•"/>
          </a:pPr>
          <a:r>
            <a:rPr lang="en-US" sz="1900" kern="1200" dirty="0">
              <a:latin typeface="+mj-lt"/>
            </a:rPr>
            <a:t>Re-train and re-score</a:t>
          </a: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Customer Acceptance</a:t>
          </a:r>
        </a:p>
      </dsp:txBody>
      <dsp:txXfrm>
        <a:off x="62548" y="5437240"/>
        <a:ext cx="4150650" cy="1154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307657"/>
          <a:ext cx="2103111" cy="71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Information Management</a:t>
          </a:r>
        </a:p>
      </dsp:txBody>
      <dsp:txXfrm>
        <a:off x="0" y="307657"/>
        <a:ext cx="2103111" cy="717750"/>
      </dsp:txXfrm>
    </dsp:sp>
    <dsp:sp modelId="{08EC183C-AED6-4FF7-A9DF-6208AC571922}">
      <dsp:nvSpPr>
        <dsp:cNvPr id="0" name=""/>
        <dsp:cNvSpPr/>
      </dsp:nvSpPr>
      <dsp:spPr>
        <a:xfrm>
          <a:off x="2103111" y="83360"/>
          <a:ext cx="420622" cy="1166343"/>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83360"/>
          <a:ext cx="5720462" cy="1166343"/>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Data Catalog</a:t>
          </a:r>
        </a:p>
        <a:p>
          <a:pPr marL="228600" lvl="1" indent="-228600" algn="l" defTabSz="889000">
            <a:lnSpc>
              <a:spcPct val="90000"/>
            </a:lnSpc>
            <a:spcBef>
              <a:spcPct val="0"/>
            </a:spcBef>
            <a:spcAft>
              <a:spcPct val="15000"/>
            </a:spcAft>
            <a:buChar char="•"/>
          </a:pPr>
          <a:r>
            <a:rPr lang="en-US" sz="2000" kern="1200" dirty="0"/>
            <a:t>Data Factory</a:t>
          </a:r>
        </a:p>
        <a:p>
          <a:pPr marL="228600" lvl="1" indent="-228600" algn="l" defTabSz="889000">
            <a:lnSpc>
              <a:spcPct val="90000"/>
            </a:lnSpc>
            <a:spcBef>
              <a:spcPct val="0"/>
            </a:spcBef>
            <a:spcAft>
              <a:spcPct val="15000"/>
            </a:spcAft>
            <a:buChar char="•"/>
          </a:pPr>
          <a:r>
            <a:rPr lang="en-US" sz="2000" kern="1200" dirty="0"/>
            <a:t>Event Hubs</a:t>
          </a:r>
        </a:p>
      </dsp:txBody>
      <dsp:txXfrm>
        <a:off x="2691982" y="83360"/>
        <a:ext cx="5720462" cy="1166343"/>
      </dsp:txXfrm>
    </dsp:sp>
    <dsp:sp modelId="{82E9A0E0-8D14-4848-9DD2-59E0CDC0AAFD}">
      <dsp:nvSpPr>
        <dsp:cNvPr id="0" name=""/>
        <dsp:cNvSpPr/>
      </dsp:nvSpPr>
      <dsp:spPr>
        <a:xfrm>
          <a:off x="0" y="1883219"/>
          <a:ext cx="2103111"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Big Data</a:t>
          </a:r>
        </a:p>
      </dsp:txBody>
      <dsp:txXfrm>
        <a:off x="0" y="1883219"/>
        <a:ext cx="2103111" cy="408375"/>
      </dsp:txXfrm>
    </dsp:sp>
    <dsp:sp modelId="{BC4DC184-0FC8-4B22-8B26-0EC609A78835}">
      <dsp:nvSpPr>
        <dsp:cNvPr id="0" name=""/>
        <dsp:cNvSpPr/>
      </dsp:nvSpPr>
      <dsp:spPr>
        <a:xfrm>
          <a:off x="2103111" y="1321704"/>
          <a:ext cx="420622" cy="1531406"/>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1982" y="1321704"/>
          <a:ext cx="5720462" cy="153140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Azure Storage</a:t>
          </a:r>
        </a:p>
        <a:p>
          <a:pPr marL="228600" lvl="1" indent="-228600" algn="l" defTabSz="889000">
            <a:lnSpc>
              <a:spcPct val="90000"/>
            </a:lnSpc>
            <a:spcBef>
              <a:spcPct val="0"/>
            </a:spcBef>
            <a:spcAft>
              <a:spcPct val="15000"/>
            </a:spcAft>
            <a:buChar char="•"/>
          </a:pPr>
          <a:r>
            <a:rPr lang="en-US" sz="2000" kern="1200" dirty="0"/>
            <a:t>Data Lake</a:t>
          </a:r>
        </a:p>
        <a:p>
          <a:pPr marL="228600" lvl="1" indent="-228600" algn="l" defTabSz="889000">
            <a:lnSpc>
              <a:spcPct val="90000"/>
            </a:lnSpc>
            <a:spcBef>
              <a:spcPct val="0"/>
            </a:spcBef>
            <a:spcAft>
              <a:spcPct val="15000"/>
            </a:spcAft>
            <a:buChar char="•"/>
          </a:pPr>
          <a:r>
            <a:rPr lang="en-US" sz="2000" kern="1200" dirty="0"/>
            <a:t>SQL Data Warehouse</a:t>
          </a:r>
        </a:p>
        <a:p>
          <a:pPr marL="228600" lvl="1" indent="-228600" algn="l" defTabSz="889000">
            <a:lnSpc>
              <a:spcPct val="90000"/>
            </a:lnSpc>
            <a:spcBef>
              <a:spcPct val="0"/>
            </a:spcBef>
            <a:spcAft>
              <a:spcPct val="15000"/>
            </a:spcAft>
            <a:buChar char="•"/>
          </a:pPr>
          <a:r>
            <a:rPr lang="en-US" sz="2000" kern="1200" dirty="0"/>
            <a:t>Cosmos DB</a:t>
          </a:r>
        </a:p>
      </dsp:txBody>
      <dsp:txXfrm>
        <a:off x="2691982" y="1321704"/>
        <a:ext cx="5720462" cy="1531406"/>
      </dsp:txXfrm>
    </dsp:sp>
    <dsp:sp modelId="{06464D07-8B60-462A-8EC4-545BAA8C97B1}">
      <dsp:nvSpPr>
        <dsp:cNvPr id="0" name=""/>
        <dsp:cNvSpPr/>
      </dsp:nvSpPr>
      <dsp:spPr>
        <a:xfrm>
          <a:off x="0" y="3559329"/>
          <a:ext cx="2103111" cy="1014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Intelligence and Advanced Analytics</a:t>
          </a:r>
        </a:p>
      </dsp:txBody>
      <dsp:txXfrm>
        <a:off x="0" y="3559329"/>
        <a:ext cx="2103111" cy="1014750"/>
      </dsp:txXfrm>
    </dsp:sp>
    <dsp:sp modelId="{756D71B1-CFF2-4550-9E9D-D836CC5523C0}">
      <dsp:nvSpPr>
        <dsp:cNvPr id="0" name=""/>
        <dsp:cNvSpPr/>
      </dsp:nvSpPr>
      <dsp:spPr>
        <a:xfrm>
          <a:off x="2103111" y="2925110"/>
          <a:ext cx="420622" cy="2283187"/>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1982" y="2925110"/>
          <a:ext cx="5720462" cy="228318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Cortana, Bot Service, Cognitive Framework</a:t>
          </a:r>
        </a:p>
        <a:p>
          <a:pPr marL="228600" lvl="1" indent="-228600" algn="l" defTabSz="889000">
            <a:lnSpc>
              <a:spcPct val="90000"/>
            </a:lnSpc>
            <a:spcBef>
              <a:spcPct val="0"/>
            </a:spcBef>
            <a:spcAft>
              <a:spcPct val="15000"/>
            </a:spcAft>
            <a:buChar char="•"/>
          </a:pPr>
          <a:r>
            <a:rPr lang="en-US" sz="2000" kern="1200" dirty="0"/>
            <a:t>Machine Learning</a:t>
          </a:r>
        </a:p>
        <a:p>
          <a:pPr marL="228600" lvl="1" indent="-228600" algn="l" defTabSz="889000">
            <a:lnSpc>
              <a:spcPct val="90000"/>
            </a:lnSpc>
            <a:spcBef>
              <a:spcPct val="0"/>
            </a:spcBef>
            <a:spcAft>
              <a:spcPct val="15000"/>
            </a:spcAft>
            <a:buChar char="•"/>
          </a:pPr>
          <a:r>
            <a:rPr lang="en-US" sz="2000" kern="1200" dirty="0"/>
            <a:t>HDInsight</a:t>
          </a:r>
        </a:p>
        <a:p>
          <a:pPr marL="228600" lvl="1" indent="-228600" algn="l" defTabSz="889000">
            <a:lnSpc>
              <a:spcPct val="90000"/>
            </a:lnSpc>
            <a:spcBef>
              <a:spcPct val="0"/>
            </a:spcBef>
            <a:spcAft>
              <a:spcPct val="15000"/>
            </a:spcAft>
            <a:buChar char="•"/>
          </a:pPr>
          <a:r>
            <a:rPr lang="en-US" sz="2000" kern="1200" dirty="0"/>
            <a:t>Data Lake</a:t>
          </a:r>
        </a:p>
        <a:p>
          <a:pPr marL="228600" lvl="1" indent="-228600" algn="l" defTabSz="889000">
            <a:lnSpc>
              <a:spcPct val="90000"/>
            </a:lnSpc>
            <a:spcBef>
              <a:spcPct val="0"/>
            </a:spcBef>
            <a:spcAft>
              <a:spcPct val="15000"/>
            </a:spcAft>
            <a:buChar char="•"/>
          </a:pPr>
          <a:r>
            <a:rPr lang="en-US" sz="2000" kern="1200" dirty="0"/>
            <a:t>Stream Analytics</a:t>
          </a:r>
        </a:p>
        <a:p>
          <a:pPr marL="228600" lvl="1" indent="-228600" algn="l" defTabSz="889000">
            <a:lnSpc>
              <a:spcPct val="90000"/>
            </a:lnSpc>
            <a:spcBef>
              <a:spcPct val="0"/>
            </a:spcBef>
            <a:spcAft>
              <a:spcPct val="15000"/>
            </a:spcAft>
            <a:buChar char="•"/>
          </a:pPr>
          <a:r>
            <a:rPr lang="en-US" sz="2000" kern="1200" dirty="0"/>
            <a:t>Analysis Services</a:t>
          </a:r>
        </a:p>
      </dsp:txBody>
      <dsp:txXfrm>
        <a:off x="2691982" y="2925110"/>
        <a:ext cx="5720462" cy="2283187"/>
      </dsp:txXfrm>
    </dsp:sp>
    <dsp:sp modelId="{975FEC36-CD0E-4BA1-9445-37B05FFD96CD}">
      <dsp:nvSpPr>
        <dsp:cNvPr id="0" name=""/>
        <dsp:cNvSpPr/>
      </dsp:nvSpPr>
      <dsp:spPr>
        <a:xfrm>
          <a:off x="0" y="5484485"/>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Visualization</a:t>
          </a:r>
        </a:p>
      </dsp:txBody>
      <dsp:txXfrm>
        <a:off x="0" y="5484485"/>
        <a:ext cx="2105167" cy="408375"/>
      </dsp:txXfrm>
    </dsp:sp>
    <dsp:sp modelId="{719BA57B-B751-40B6-88AD-FF402F20568B}">
      <dsp:nvSpPr>
        <dsp:cNvPr id="0" name=""/>
        <dsp:cNvSpPr/>
      </dsp:nvSpPr>
      <dsp:spPr>
        <a:xfrm>
          <a:off x="2105166" y="5280297"/>
          <a:ext cx="421033" cy="816750"/>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5280297"/>
          <a:ext cx="5726054" cy="81675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Power BI</a:t>
          </a:r>
        </a:p>
        <a:p>
          <a:pPr marL="228600" lvl="1" indent="-228600" algn="l" defTabSz="889000">
            <a:lnSpc>
              <a:spcPct val="90000"/>
            </a:lnSpc>
            <a:spcBef>
              <a:spcPct val="0"/>
            </a:spcBef>
            <a:spcAft>
              <a:spcPct val="15000"/>
            </a:spcAft>
            <a:buChar char="•"/>
          </a:pPr>
          <a:r>
            <a:rPr lang="en-US" sz="2000" kern="1200" dirty="0"/>
            <a:t>R</a:t>
          </a:r>
        </a:p>
      </dsp:txBody>
      <dsp:txXfrm>
        <a:off x="2694613" y="5280297"/>
        <a:ext cx="5726054" cy="816750"/>
      </dsp:txXfrm>
    </dsp:sp>
    <dsp:sp modelId="{FD528662-2E78-46C5-AFEC-7596999AE27A}">
      <dsp:nvSpPr>
        <dsp:cNvPr id="0" name=""/>
        <dsp:cNvSpPr/>
      </dsp:nvSpPr>
      <dsp:spPr>
        <a:xfrm>
          <a:off x="0" y="6194571"/>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Solutions</a:t>
          </a:r>
        </a:p>
      </dsp:txBody>
      <dsp:txXfrm>
        <a:off x="0" y="6194571"/>
        <a:ext cx="2105167" cy="408375"/>
      </dsp:txXfrm>
    </dsp:sp>
    <dsp:sp modelId="{017728F1-FB8F-480D-960E-335CD7ADAB3C}">
      <dsp:nvSpPr>
        <dsp:cNvPr id="0" name=""/>
        <dsp:cNvSpPr/>
      </dsp:nvSpPr>
      <dsp:spPr>
        <a:xfrm>
          <a:off x="2105166" y="6169047"/>
          <a:ext cx="421033" cy="459421"/>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4613" y="6169047"/>
          <a:ext cx="5726054" cy="459421"/>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Templates and Gallery</a:t>
          </a:r>
        </a:p>
      </dsp:txBody>
      <dsp:txXfrm>
        <a:off x="2694613" y="6169047"/>
        <a:ext cx="5726054" cy="45942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69E77D-450B-4AA5-A0D7-1198EF98D262}">
      <dsp:nvSpPr>
        <dsp:cNvPr id="0" name=""/>
        <dsp:cNvSpPr/>
      </dsp:nvSpPr>
      <dsp:spPr>
        <a:xfrm>
          <a:off x="811710" y="2336"/>
          <a:ext cx="2314830"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Service creation and setup</a:t>
          </a:r>
        </a:p>
        <a:p>
          <a:pPr marL="114300" lvl="1" indent="-114300" algn="l" defTabSz="666750">
            <a:lnSpc>
              <a:spcPct val="90000"/>
            </a:lnSpc>
            <a:spcBef>
              <a:spcPct val="0"/>
            </a:spcBef>
            <a:spcAft>
              <a:spcPct val="15000"/>
            </a:spcAft>
            <a:buChar char="•"/>
          </a:pPr>
          <a:r>
            <a:rPr lang="en-US" sz="1500" kern="1200" dirty="0"/>
            <a:t>Account security</a:t>
          </a:r>
        </a:p>
        <a:p>
          <a:pPr marL="114300" lvl="1" indent="-114300" algn="l" defTabSz="666750">
            <a:lnSpc>
              <a:spcPct val="90000"/>
            </a:lnSpc>
            <a:spcBef>
              <a:spcPct val="0"/>
            </a:spcBef>
            <a:spcAft>
              <a:spcPct val="15000"/>
            </a:spcAft>
            <a:buChar char="•"/>
          </a:pPr>
          <a:r>
            <a:rPr lang="en-US" sz="1500" kern="1200" dirty="0"/>
            <a:t>Cost management</a:t>
          </a:r>
        </a:p>
        <a:p>
          <a:pPr marL="114300" lvl="1" indent="-114300" algn="l" defTabSz="666750">
            <a:lnSpc>
              <a:spcPct val="90000"/>
            </a:lnSpc>
            <a:spcBef>
              <a:spcPct val="0"/>
            </a:spcBef>
            <a:spcAft>
              <a:spcPct val="15000"/>
            </a:spcAft>
            <a:buChar char="•"/>
          </a:pPr>
          <a:r>
            <a:rPr lang="en-US" sz="1500" kern="1200" dirty="0"/>
            <a:t>Scheduling</a:t>
          </a:r>
        </a:p>
        <a:p>
          <a:pPr marL="114300" lvl="1" indent="-114300" algn="l" defTabSz="666750">
            <a:lnSpc>
              <a:spcPct val="90000"/>
            </a:lnSpc>
            <a:spcBef>
              <a:spcPct val="0"/>
            </a:spcBef>
            <a:spcAft>
              <a:spcPct val="15000"/>
            </a:spcAft>
            <a:buChar char="•"/>
          </a:pPr>
          <a:r>
            <a:rPr lang="en-US" sz="1500" kern="1200" dirty="0"/>
            <a:t>Migration</a:t>
          </a:r>
        </a:p>
      </dsp:txBody>
      <dsp:txXfrm>
        <a:off x="852198" y="42824"/>
        <a:ext cx="2233854" cy="1687483"/>
      </dsp:txXfrm>
    </dsp:sp>
    <dsp:sp modelId="{D205654F-51A3-4FAE-BE99-C43D0F29D35C}">
      <dsp:nvSpPr>
        <dsp:cNvPr id="0" name=""/>
        <dsp:cNvSpPr/>
      </dsp:nvSpPr>
      <dsp:spPr>
        <a:xfrm>
          <a:off x="811710" y="1730308"/>
          <a:ext cx="2314830"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0" rIns="27940" bIns="0" numCol="1" spcCol="1270" anchor="ctr" anchorCtr="0">
          <a:noAutofit/>
        </a:bodyPr>
        <a:lstStyle/>
        <a:p>
          <a:pPr marL="0" lvl="0" indent="0" algn="l" defTabSz="977900">
            <a:lnSpc>
              <a:spcPct val="90000"/>
            </a:lnSpc>
            <a:spcBef>
              <a:spcPct val="0"/>
            </a:spcBef>
            <a:spcAft>
              <a:spcPct val="35000"/>
            </a:spcAft>
            <a:buNone/>
          </a:pPr>
          <a:r>
            <a:rPr lang="en-US" sz="2200" b="0" kern="1200" dirty="0"/>
            <a:t>Deployment</a:t>
          </a:r>
        </a:p>
      </dsp:txBody>
      <dsp:txXfrm>
        <a:off x="811710" y="1730308"/>
        <a:ext cx="1630162" cy="743027"/>
      </dsp:txXfrm>
    </dsp:sp>
    <dsp:sp modelId="{53654164-1169-41BD-8EFC-F0F3257C3B0A}">
      <dsp:nvSpPr>
        <dsp:cNvPr id="0" name=""/>
        <dsp:cNvSpPr/>
      </dsp:nvSpPr>
      <dsp:spPr>
        <a:xfrm>
          <a:off x="2507355"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3702B15-9095-4FA4-8821-B11AC9EBEFC2}">
      <dsp:nvSpPr>
        <dsp:cNvPr id="0" name=""/>
        <dsp:cNvSpPr/>
      </dsp:nvSpPr>
      <dsp:spPr>
        <a:xfrm>
          <a:off x="3518265" y="17836"/>
          <a:ext cx="2314830"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Monitoring and Management</a:t>
          </a:r>
        </a:p>
        <a:p>
          <a:pPr marL="114300" lvl="1" indent="-114300" algn="l" defTabSz="666750">
            <a:lnSpc>
              <a:spcPct val="90000"/>
            </a:lnSpc>
            <a:spcBef>
              <a:spcPct val="0"/>
            </a:spcBef>
            <a:spcAft>
              <a:spcPct val="15000"/>
            </a:spcAft>
            <a:buChar char="•"/>
          </a:pPr>
          <a:r>
            <a:rPr lang="en-US" sz="1500" kern="1200" dirty="0"/>
            <a:t>Development</a:t>
          </a:r>
        </a:p>
        <a:p>
          <a:pPr marL="114300" lvl="1" indent="-114300" algn="l" defTabSz="666750">
            <a:lnSpc>
              <a:spcPct val="90000"/>
            </a:lnSpc>
            <a:spcBef>
              <a:spcPct val="0"/>
            </a:spcBef>
            <a:spcAft>
              <a:spcPct val="15000"/>
            </a:spcAft>
            <a:buChar char="•"/>
          </a:pPr>
          <a:r>
            <a:rPr lang="en-US" sz="1500" kern="1200" dirty="0"/>
            <a:t>Automation</a:t>
          </a:r>
        </a:p>
      </dsp:txBody>
      <dsp:txXfrm>
        <a:off x="3558753" y="58324"/>
        <a:ext cx="2233854" cy="1687483"/>
      </dsp:txXfrm>
    </dsp:sp>
    <dsp:sp modelId="{63BDA6B1-2B38-4AE2-AC0A-4100D50825C7}">
      <dsp:nvSpPr>
        <dsp:cNvPr id="0" name=""/>
        <dsp:cNvSpPr/>
      </dsp:nvSpPr>
      <dsp:spPr>
        <a:xfrm>
          <a:off x="3518265" y="1730308"/>
          <a:ext cx="2314830"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0" rIns="30480" bIns="0" numCol="1" spcCol="1270" anchor="ctr" anchorCtr="0">
          <a:noAutofit/>
        </a:bodyPr>
        <a:lstStyle/>
        <a:p>
          <a:pPr marL="0" lvl="0" indent="0" algn="l" defTabSz="1066800">
            <a:lnSpc>
              <a:spcPct val="90000"/>
            </a:lnSpc>
            <a:spcBef>
              <a:spcPct val="0"/>
            </a:spcBef>
            <a:spcAft>
              <a:spcPct val="35000"/>
            </a:spcAft>
            <a:buNone/>
          </a:pPr>
          <a:r>
            <a:rPr lang="en-US" sz="2400" b="0" kern="1200" dirty="0"/>
            <a:t>Tooling</a:t>
          </a:r>
          <a:r>
            <a:rPr lang="en-US" sz="1800" b="0" kern="1200" dirty="0"/>
            <a:t> </a:t>
          </a:r>
        </a:p>
      </dsp:txBody>
      <dsp:txXfrm>
        <a:off x="3518265" y="1730308"/>
        <a:ext cx="1630162" cy="743027"/>
      </dsp:txXfrm>
    </dsp:sp>
    <dsp:sp modelId="{C3295073-1100-4C99-8DBE-A1041DE3314E}">
      <dsp:nvSpPr>
        <dsp:cNvPr id="0" name=""/>
        <dsp:cNvSpPr/>
      </dsp:nvSpPr>
      <dsp:spPr>
        <a:xfrm>
          <a:off x="5213911"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1DC0853-3C95-48A0-8914-B279EF9D3451}">
      <dsp:nvSpPr>
        <dsp:cNvPr id="0" name=""/>
        <dsp:cNvSpPr/>
      </dsp:nvSpPr>
      <dsp:spPr>
        <a:xfrm>
          <a:off x="6224821" y="2336"/>
          <a:ext cx="2314830"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Options</a:t>
          </a:r>
        </a:p>
        <a:p>
          <a:pPr marL="114300" lvl="1" indent="-114300" algn="l" defTabSz="666750">
            <a:lnSpc>
              <a:spcPct val="90000"/>
            </a:lnSpc>
            <a:spcBef>
              <a:spcPct val="0"/>
            </a:spcBef>
            <a:spcAft>
              <a:spcPct val="15000"/>
            </a:spcAft>
            <a:buChar char="•"/>
          </a:pPr>
          <a:r>
            <a:rPr lang="en-US" sz="1500" kern="1200" dirty="0"/>
            <a:t>Optimization</a:t>
          </a:r>
        </a:p>
        <a:p>
          <a:pPr marL="114300" lvl="1" indent="-114300" algn="l" defTabSz="666750">
            <a:lnSpc>
              <a:spcPct val="90000"/>
            </a:lnSpc>
            <a:spcBef>
              <a:spcPct val="0"/>
            </a:spcBef>
            <a:spcAft>
              <a:spcPct val="15000"/>
            </a:spcAft>
            <a:buChar char="•"/>
          </a:pPr>
          <a:r>
            <a:rPr lang="en-US" sz="1500" kern="1200" dirty="0"/>
            <a:t>Regulatory requirements</a:t>
          </a:r>
        </a:p>
        <a:p>
          <a:pPr marL="114300" lvl="1" indent="-114300" algn="l" defTabSz="666750">
            <a:lnSpc>
              <a:spcPct val="90000"/>
            </a:lnSpc>
            <a:spcBef>
              <a:spcPct val="0"/>
            </a:spcBef>
            <a:spcAft>
              <a:spcPct val="15000"/>
            </a:spcAft>
            <a:buChar char="•"/>
          </a:pPr>
          <a:r>
            <a:rPr lang="en-US" sz="1500" kern="1200" dirty="0"/>
            <a:t>Networking and Hybrid</a:t>
          </a:r>
        </a:p>
      </dsp:txBody>
      <dsp:txXfrm>
        <a:off x="6265309" y="42824"/>
        <a:ext cx="2233854" cy="1687483"/>
      </dsp:txXfrm>
    </dsp:sp>
    <dsp:sp modelId="{813E9E72-B8C5-4FD7-A1C8-FE5434B134AB}">
      <dsp:nvSpPr>
        <dsp:cNvPr id="0" name=""/>
        <dsp:cNvSpPr/>
      </dsp:nvSpPr>
      <dsp:spPr>
        <a:xfrm>
          <a:off x="6224821" y="1730308"/>
          <a:ext cx="2314830"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b="0" kern="1200" dirty="0"/>
            <a:t>Facilities and Regions</a:t>
          </a:r>
        </a:p>
      </dsp:txBody>
      <dsp:txXfrm>
        <a:off x="6224821" y="1730308"/>
        <a:ext cx="1630162" cy="743027"/>
      </dsp:txXfrm>
    </dsp:sp>
    <dsp:sp modelId="{2A3C153A-B69D-4383-8F06-C0B5B631BCF6}">
      <dsp:nvSpPr>
        <dsp:cNvPr id="0" name=""/>
        <dsp:cNvSpPr/>
      </dsp:nvSpPr>
      <dsp:spPr>
        <a:xfrm>
          <a:off x="7920466"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3298AE1-0B1E-4F2F-9FE9-40C2F82C9870}">
      <dsp:nvSpPr>
        <dsp:cNvPr id="0" name=""/>
        <dsp:cNvSpPr/>
      </dsp:nvSpPr>
      <dsp:spPr>
        <a:xfrm>
          <a:off x="8931376" y="2336"/>
          <a:ext cx="2314830"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Dev/Test/Production</a:t>
          </a:r>
        </a:p>
        <a:p>
          <a:pPr marL="114300" lvl="1" indent="-114300" algn="l" defTabSz="666750">
            <a:lnSpc>
              <a:spcPct val="90000"/>
            </a:lnSpc>
            <a:spcBef>
              <a:spcPct val="0"/>
            </a:spcBef>
            <a:spcAft>
              <a:spcPct val="15000"/>
            </a:spcAft>
            <a:buChar char="•"/>
          </a:pPr>
          <a:r>
            <a:rPr lang="en-US" sz="1500" kern="1200" dirty="0"/>
            <a:t>Groups for monitoring and billing</a:t>
          </a:r>
        </a:p>
      </dsp:txBody>
      <dsp:txXfrm>
        <a:off x="8971864" y="42824"/>
        <a:ext cx="2233854" cy="1687483"/>
      </dsp:txXfrm>
    </dsp:sp>
    <dsp:sp modelId="{0C665551-770F-4D57-ADD8-1E8A28F25433}">
      <dsp:nvSpPr>
        <dsp:cNvPr id="0" name=""/>
        <dsp:cNvSpPr/>
      </dsp:nvSpPr>
      <dsp:spPr>
        <a:xfrm>
          <a:off x="8931376" y="1730308"/>
          <a:ext cx="2314830"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b="0" kern="1200" dirty="0"/>
            <a:t>Resource Grouping</a:t>
          </a:r>
        </a:p>
      </dsp:txBody>
      <dsp:txXfrm>
        <a:off x="8931376" y="1730308"/>
        <a:ext cx="1630162" cy="743027"/>
      </dsp:txXfrm>
    </dsp:sp>
    <dsp:sp modelId="{D866364E-1252-4458-8A32-9B69140072FF}">
      <dsp:nvSpPr>
        <dsp:cNvPr id="0" name=""/>
        <dsp:cNvSpPr/>
      </dsp:nvSpPr>
      <dsp:spPr>
        <a:xfrm>
          <a:off x="10627021"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FA15F9-F5B6-4406-AE11-5EFCF813A28C}">
      <dsp:nvSpPr>
        <dsp:cNvPr id="0" name=""/>
        <dsp:cNvSpPr/>
      </dsp:nvSpPr>
      <dsp:spPr>
        <a:xfrm>
          <a:off x="2091839" y="3059793"/>
          <a:ext cx="2314830"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Redundancy</a:t>
          </a:r>
        </a:p>
        <a:p>
          <a:pPr marL="114300" lvl="1" indent="-114300" algn="l" defTabSz="666750">
            <a:lnSpc>
              <a:spcPct val="90000"/>
            </a:lnSpc>
            <a:spcBef>
              <a:spcPct val="0"/>
            </a:spcBef>
            <a:spcAft>
              <a:spcPct val="15000"/>
            </a:spcAft>
            <a:buChar char="•"/>
          </a:pPr>
          <a:r>
            <a:rPr lang="en-US" sz="1500" kern="1200" dirty="0"/>
            <a:t>Recovery strategies</a:t>
          </a:r>
        </a:p>
        <a:p>
          <a:pPr marL="114300" lvl="1" indent="-114300" algn="l" defTabSz="666750">
            <a:lnSpc>
              <a:spcPct val="90000"/>
            </a:lnSpc>
            <a:spcBef>
              <a:spcPct val="0"/>
            </a:spcBef>
            <a:spcAft>
              <a:spcPct val="15000"/>
            </a:spcAft>
            <a:buChar char="•"/>
          </a:pPr>
          <a:r>
            <a:rPr lang="en-US" sz="1500" kern="1200" dirty="0"/>
            <a:t>Outage fallbacks</a:t>
          </a:r>
        </a:p>
      </dsp:txBody>
      <dsp:txXfrm>
        <a:off x="2132327" y="3100281"/>
        <a:ext cx="2233854" cy="1687483"/>
      </dsp:txXfrm>
    </dsp:sp>
    <dsp:sp modelId="{8B7FD021-6E0C-40A6-9B5F-918B4B042299}">
      <dsp:nvSpPr>
        <dsp:cNvPr id="0" name=""/>
        <dsp:cNvSpPr/>
      </dsp:nvSpPr>
      <dsp:spPr>
        <a:xfrm>
          <a:off x="2091839" y="4787765"/>
          <a:ext cx="2314830"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0" rIns="30480" bIns="0" numCol="1" spcCol="1270" anchor="ctr" anchorCtr="0">
          <a:noAutofit/>
        </a:bodyPr>
        <a:lstStyle/>
        <a:p>
          <a:pPr marL="0" lvl="0" indent="0" algn="l" defTabSz="1066800">
            <a:lnSpc>
              <a:spcPct val="90000"/>
            </a:lnSpc>
            <a:spcBef>
              <a:spcPct val="0"/>
            </a:spcBef>
            <a:spcAft>
              <a:spcPct val="35000"/>
            </a:spcAft>
            <a:buNone/>
          </a:pPr>
          <a:r>
            <a:rPr lang="en-US" sz="2400" kern="1200" dirty="0"/>
            <a:t>Safety</a:t>
          </a:r>
          <a:endParaRPr lang="en-US" sz="1600" kern="1200" dirty="0"/>
        </a:p>
      </dsp:txBody>
      <dsp:txXfrm>
        <a:off x="2091839" y="4787765"/>
        <a:ext cx="1630162" cy="743027"/>
      </dsp:txXfrm>
    </dsp:sp>
    <dsp:sp modelId="{2B68F48A-8B70-478C-9F52-0D527B153546}">
      <dsp:nvSpPr>
        <dsp:cNvPr id="0" name=""/>
        <dsp:cNvSpPr/>
      </dsp:nvSpPr>
      <dsp:spPr>
        <a:xfrm>
          <a:off x="3787484" y="4905788"/>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BAAD708-00D7-4493-BDC1-12B6057906A7}">
      <dsp:nvSpPr>
        <dsp:cNvPr id="0" name=""/>
        <dsp:cNvSpPr/>
      </dsp:nvSpPr>
      <dsp:spPr>
        <a:xfrm>
          <a:off x="4798395" y="3059793"/>
          <a:ext cx="2314830"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Telemetry data collection and storage</a:t>
          </a:r>
        </a:p>
        <a:p>
          <a:pPr marL="114300" lvl="1" indent="-114300" algn="l" defTabSz="666750">
            <a:lnSpc>
              <a:spcPct val="90000"/>
            </a:lnSpc>
            <a:spcBef>
              <a:spcPct val="0"/>
            </a:spcBef>
            <a:spcAft>
              <a:spcPct val="15000"/>
            </a:spcAft>
            <a:buChar char="•"/>
          </a:pPr>
          <a:r>
            <a:rPr lang="en-US" sz="1500" kern="1200" dirty="0"/>
            <a:t>Report distribution</a:t>
          </a:r>
        </a:p>
        <a:p>
          <a:pPr marL="114300" lvl="1" indent="-114300" algn="l" defTabSz="666750">
            <a:lnSpc>
              <a:spcPct val="90000"/>
            </a:lnSpc>
            <a:spcBef>
              <a:spcPct val="0"/>
            </a:spcBef>
            <a:spcAft>
              <a:spcPct val="15000"/>
            </a:spcAft>
            <a:buChar char="•"/>
          </a:pPr>
          <a:r>
            <a:rPr lang="en-US" sz="1500" kern="1200" dirty="0"/>
            <a:t>Automated alerts</a:t>
          </a:r>
        </a:p>
      </dsp:txBody>
      <dsp:txXfrm>
        <a:off x="4838883" y="3100281"/>
        <a:ext cx="2233854" cy="1687483"/>
      </dsp:txXfrm>
    </dsp:sp>
    <dsp:sp modelId="{0F6780AD-6FF0-481B-941D-33FB86F3EB15}">
      <dsp:nvSpPr>
        <dsp:cNvPr id="0" name=""/>
        <dsp:cNvSpPr/>
      </dsp:nvSpPr>
      <dsp:spPr>
        <a:xfrm>
          <a:off x="4798395" y="4787765"/>
          <a:ext cx="2314830"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kern="1200" dirty="0"/>
            <a:t>Auditing and Reporting</a:t>
          </a:r>
        </a:p>
      </dsp:txBody>
      <dsp:txXfrm>
        <a:off x="4798395" y="4787765"/>
        <a:ext cx="1630162" cy="743027"/>
      </dsp:txXfrm>
    </dsp:sp>
    <dsp:sp modelId="{05FE2D10-5428-4ADF-A07E-A42426C46C52}">
      <dsp:nvSpPr>
        <dsp:cNvPr id="0" name=""/>
        <dsp:cNvSpPr/>
      </dsp:nvSpPr>
      <dsp:spPr>
        <a:xfrm>
          <a:off x="6494040" y="4905788"/>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D7E3D2A-F1CD-4DD9-A45E-2E38E6089D9D}">
      <dsp:nvSpPr>
        <dsp:cNvPr id="0" name=""/>
        <dsp:cNvSpPr/>
      </dsp:nvSpPr>
      <dsp:spPr>
        <a:xfrm>
          <a:off x="7512786" y="3059793"/>
          <a:ext cx="2591753"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Issue identification</a:t>
          </a:r>
        </a:p>
        <a:p>
          <a:pPr marL="114300" lvl="1" indent="-114300" algn="l" defTabSz="666750">
            <a:lnSpc>
              <a:spcPct val="90000"/>
            </a:lnSpc>
            <a:spcBef>
              <a:spcPct val="0"/>
            </a:spcBef>
            <a:spcAft>
              <a:spcPct val="15000"/>
            </a:spcAft>
            <a:buChar char="•"/>
          </a:pPr>
          <a:r>
            <a:rPr lang="en-US" sz="1500" kern="1200" dirty="0"/>
            <a:t>Resolution call tree</a:t>
          </a:r>
        </a:p>
        <a:p>
          <a:pPr marL="114300" lvl="1" indent="-114300" algn="l" defTabSz="666750">
            <a:lnSpc>
              <a:spcPct val="90000"/>
            </a:lnSpc>
            <a:spcBef>
              <a:spcPct val="0"/>
            </a:spcBef>
            <a:spcAft>
              <a:spcPct val="15000"/>
            </a:spcAft>
            <a:buChar char="•"/>
          </a:pPr>
          <a:r>
            <a:rPr lang="en-US" sz="1500" kern="1200" dirty="0"/>
            <a:t>Support</a:t>
          </a:r>
        </a:p>
      </dsp:txBody>
      <dsp:txXfrm>
        <a:off x="7553274" y="3100281"/>
        <a:ext cx="2510777" cy="1687483"/>
      </dsp:txXfrm>
    </dsp:sp>
    <dsp:sp modelId="{49D40827-C37B-462A-8830-3781D78F9E47}">
      <dsp:nvSpPr>
        <dsp:cNvPr id="0" name=""/>
        <dsp:cNvSpPr/>
      </dsp:nvSpPr>
      <dsp:spPr>
        <a:xfrm>
          <a:off x="7504950" y="4787765"/>
          <a:ext cx="2607424"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marL="0" lvl="0" indent="0" algn="l" defTabSz="800100">
            <a:lnSpc>
              <a:spcPct val="90000"/>
            </a:lnSpc>
            <a:spcBef>
              <a:spcPct val="0"/>
            </a:spcBef>
            <a:spcAft>
              <a:spcPct val="35000"/>
            </a:spcAft>
            <a:buNone/>
          </a:pPr>
          <a:r>
            <a:rPr lang="en-US" sz="1800" kern="1200" dirty="0"/>
            <a:t>Troubleshooting</a:t>
          </a:r>
        </a:p>
      </dsp:txBody>
      <dsp:txXfrm>
        <a:off x="7504950" y="4787765"/>
        <a:ext cx="1836214" cy="743027"/>
      </dsp:txXfrm>
    </dsp:sp>
    <dsp:sp modelId="{1FE2202C-CE03-4175-93F8-B669AAABE73F}">
      <dsp:nvSpPr>
        <dsp:cNvPr id="0" name=""/>
        <dsp:cNvSpPr/>
      </dsp:nvSpPr>
      <dsp:spPr>
        <a:xfrm>
          <a:off x="9503648" y="4905788"/>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9/8/2017 2:04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3109205" cy="1748928"/>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2641359"/>
            <a:ext cx="6251154" cy="601789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835527"/>
            <a:ext cx="947103" cy="306885"/>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69855"/>
            <a:ext cx="1926660" cy="243112"/>
          </a:xfrm>
          <a:prstGeom prst="rect">
            <a:avLst/>
          </a:prstGeom>
        </p:spPr>
      </p:pic>
      <p:sp>
        <p:nvSpPr>
          <p:cNvPr id="3" name="Rectangle 2"/>
          <p:cNvSpPr/>
          <p:nvPr/>
        </p:nvSpPr>
        <p:spPr>
          <a:xfrm>
            <a:off x="381000" y="8835527"/>
            <a:ext cx="4809836" cy="276999"/>
          </a:xfrm>
          <a:prstGeom prst="rect">
            <a:avLst/>
          </a:prstGeom>
        </p:spPr>
        <p:txBody>
          <a:bodyPr wrap="square">
            <a:spAutoFit/>
          </a:bodyPr>
          <a:lstStyle/>
          <a:p>
            <a:pPr algn="l"/>
            <a:r>
              <a:rPr lang="en-US" sz="1200" b="0"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Microsoft Business Analytics and AI  Workshop Class Notebook</a:t>
            </a:r>
            <a:endParaRPr lang="en-US" sz="2800" b="0" dirty="0">
              <a:solidFill>
                <a:schemeClr val="accent6">
                  <a:lumMod val="75000"/>
                </a:schemeClr>
              </a:solidFill>
            </a:endParaRPr>
          </a:p>
        </p:txBody>
      </p:sp>
      <p:sp>
        <p:nvSpPr>
          <p:cNvPr id="7" name="Rectangle 6"/>
          <p:cNvSpPr/>
          <p:nvPr/>
        </p:nvSpPr>
        <p:spPr>
          <a:xfrm>
            <a:off x="2307661" y="142734"/>
            <a:ext cx="4550340" cy="461665"/>
          </a:xfrm>
          <a:prstGeom prst="rect">
            <a:avLst/>
          </a:prstGeom>
        </p:spPr>
        <p:txBody>
          <a:bodyPr wrap="square">
            <a:spAutoFit/>
          </a:bodyPr>
          <a:lstStyle/>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Building Solutions with Microsoft Business Analytics and AI – </a:t>
            </a:r>
          </a:p>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Setup</a:t>
            </a:r>
            <a:endParaRPr lang="en-US" sz="2800" b="0" dirty="0">
              <a:solidFill>
                <a:srgbClr val="4472C4"/>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4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Main</a:t>
            </a:r>
            <a:r>
              <a:rPr lang="en-US" baseline="0" dirty="0"/>
              <a:t> </a:t>
            </a:r>
            <a:r>
              <a:rPr lang="en-US" dirty="0"/>
              <a:t>page - http://cortanaanalytics.com </a:t>
            </a:r>
            <a:endParaRPr lang="en-US" baseline="0" dirty="0"/>
          </a:p>
          <a:p>
            <a:pPr marL="228600" indent="-228600">
              <a:buFont typeface="+mj-lt"/>
              <a:buAutoNum type="arabicPeriod"/>
            </a:pPr>
            <a:r>
              <a:rPr lang="en-US" baseline="0" dirty="0"/>
              <a:t>To begin this module, you should have: </a:t>
            </a:r>
          </a:p>
          <a:p>
            <a:pPr marL="560162" lvl="1" indent="-342900">
              <a:buFont typeface="+mj-lt"/>
              <a:buAutoNum type="alphaLcPeriod"/>
            </a:pPr>
            <a:r>
              <a:rPr lang="en-US" baseline="0" dirty="0"/>
              <a:t>Basic Math and Stats skills</a:t>
            </a:r>
          </a:p>
          <a:p>
            <a:pPr marL="560162" lvl="1" indent="-342900">
              <a:buFont typeface="+mj-lt"/>
              <a:buAutoNum type="alphaLcPeriod"/>
            </a:pPr>
            <a:r>
              <a:rPr lang="en-US" baseline="0" dirty="0"/>
              <a:t>Business and Domain Awareness</a:t>
            </a:r>
          </a:p>
          <a:p>
            <a:pPr marL="560162" lvl="1" indent="-342900">
              <a:buFont typeface="+mj-lt"/>
              <a:buAutoNum type="alphaLcPeriod"/>
            </a:pPr>
            <a:r>
              <a:rPr lang="en-US" baseline="0" dirty="0"/>
              <a:t>General Computing Background</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i="1" baseline="0" dirty="0">
                <a:solidFill>
                  <a:srgbClr val="C00000"/>
                </a:solidFill>
              </a:rPr>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dirty="0"/>
          </a:p>
          <a:p>
            <a:endParaRPr lang="en-US"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8599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This process largely follows the CRISP-DM model -  http://www.sv-europe.com/crisp-dm-methodolog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228580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It also references the </a:t>
            </a:r>
            <a:r>
              <a:rPr kumimoji="0" lang="en-US" sz="1400" b="0" i="0" u="none" strike="noStrike" kern="1200" cap="none" spc="0" normalizeH="0" baseline="0" noProof="0" dirty="0">
                <a:ln>
                  <a:noFill/>
                </a:ln>
                <a:solidFill>
                  <a:srgbClr val="00B050"/>
                </a:solidFill>
                <a:effectLst/>
                <a:uLnTx/>
                <a:uFillTx/>
                <a:latin typeface="Segoe UI Light"/>
                <a:ea typeface="+mn-ea"/>
                <a:cs typeface="+mn-cs"/>
              </a:rPr>
              <a:t>Microsoft Business Analytics and AI </a:t>
            </a:r>
            <a:r>
              <a:rPr lang="en-US" dirty="0"/>
              <a:t>process -  https://azure.microsoft.com/en-us/documentation/articles/data-science-process-overview/</a:t>
            </a:r>
          </a:p>
          <a:p>
            <a:pPr marL="228600" indent="-228600">
              <a:buFont typeface="+mj-lt"/>
              <a:buAutoNum type="arabicPeriod"/>
            </a:pPr>
            <a:r>
              <a:rPr lang="en-US" dirty="0"/>
              <a:t>A complete process diagram</a:t>
            </a:r>
            <a:r>
              <a:rPr lang="en-US" baseline="0" dirty="0"/>
              <a:t> is here - </a:t>
            </a:r>
            <a:r>
              <a:rPr lang="en-US" dirty="0"/>
              <a:t> https://azure.microsoft.com/en-us/documentation/learning-paths/cortana-analytics-process/</a:t>
            </a:r>
          </a:p>
          <a:p>
            <a:pPr marL="228600" indent="-228600">
              <a:buFont typeface="+mj-lt"/>
              <a:buAutoNum type="arabicPeriod"/>
            </a:pPr>
            <a:r>
              <a:rPr lang="en-US" dirty="0"/>
              <a:t>Some walk-throughs of the various services -  https://azure.microsoft.com/en-us/documentation/articles/data-science-process-walkthroughs/</a:t>
            </a:r>
          </a:p>
          <a:p>
            <a:pPr marL="228600" indent="-228600">
              <a:buFont typeface="+mj-lt"/>
              <a:buAutoNum type="arabicPeriod"/>
            </a:pPr>
            <a:r>
              <a:rPr lang="en-US" dirty="0"/>
              <a:t>A</a:t>
            </a:r>
            <a:r>
              <a:rPr lang="en-US" baseline="0" dirty="0"/>
              <a:t>n integrated process and toolset allows for a more close-to-intent deployment</a:t>
            </a:r>
          </a:p>
          <a:p>
            <a:pPr marL="228600" indent="-228600">
              <a:buFont typeface="+mj-lt"/>
              <a:buAutoNum type="arabicPeriod"/>
            </a:pPr>
            <a:r>
              <a:rPr lang="en-US" baseline="0" dirty="0"/>
              <a:t>Iterations are required to close in on the solution – but are harder to manage and monitor</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34924763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274320" y="2599981"/>
            <a:ext cx="6297930" cy="6212549"/>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Catalog - http://azure.microsoft.com/en-us/services/data-catalog </a:t>
            </a:r>
            <a:r>
              <a:rPr lang="en-US"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Factory - http://azure.microsoft.com/en-us/services/data-factory/ </a:t>
            </a:r>
            <a:r>
              <a:rPr lang="en-US" b="1" dirty="0"/>
              <a:t>(Move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Event Hubs - http://azure.microsoft.com/en-us/services/event-hubs/ </a:t>
            </a:r>
            <a:r>
              <a:rPr lang="en-US" b="1" dirty="0"/>
              <a:t>(Bring It)</a:t>
            </a:r>
          </a:p>
          <a:p>
            <a:pPr marL="228600" indent="-228600">
              <a:buFont typeface="+mj-lt"/>
              <a:buAutoNum type="arabicPeriod"/>
            </a:pPr>
            <a:r>
              <a:rPr lang="en-US" dirty="0"/>
              <a:t>Platform and Storage - Microsoft Azure – http://microsoftazure.com Storage - https://azure.microsoft.com/en-us/documentation/services/storage/ </a:t>
            </a:r>
            <a:r>
              <a:rPr lang="en-US" b="1" dirty="0"/>
              <a:t>(Host It)</a:t>
            </a:r>
          </a:p>
          <a:p>
            <a:pPr marL="228600" indent="-228600">
              <a:buFont typeface="+mj-lt"/>
              <a:buAutoNum type="arabicPeriod"/>
            </a:pPr>
            <a:r>
              <a:rPr lang="en-US" dirty="0"/>
              <a:t>Azure Data Lake - http://azure.microsoft.com/en-us/campaigns/data-lake/ </a:t>
            </a:r>
            <a:r>
              <a:rPr lang="en-US" b="1" dirty="0"/>
              <a:t>(Store It)</a:t>
            </a:r>
          </a:p>
          <a:p>
            <a:pPr marL="228600" indent="-228600">
              <a:buFont typeface="+mj-lt"/>
              <a:buAutoNum type="arabicPeriod"/>
            </a:pPr>
            <a:r>
              <a:rPr lang="en-US" dirty="0"/>
              <a:t>Azure SQL Data Warehouse - http://azure.microsoft.com/en-us/services/sql-data-warehouse/ </a:t>
            </a:r>
            <a:r>
              <a:rPr lang="en-US" b="1" dirty="0"/>
              <a:t>(Relate It)</a:t>
            </a:r>
          </a:p>
          <a:p>
            <a:pPr marL="228600" indent="-228600">
              <a:buFont typeface="+mj-lt"/>
              <a:buAutoNum type="arabicPeriod"/>
            </a:pPr>
            <a:r>
              <a:rPr lang="en-US" dirty="0"/>
              <a:t>Azure Cosmos DB - https://docs.microsoft.com/en-us/azure/cosmos-db/introduction</a:t>
            </a:r>
            <a:endParaRPr lang="en-US" b="1" dirty="0"/>
          </a:p>
          <a:p>
            <a:pPr marL="228600" indent="-228600">
              <a:buFont typeface="+mj-lt"/>
              <a:buAutoNum type="arabicPeriod"/>
            </a:pPr>
            <a:r>
              <a:rPr lang="en-US" dirty="0"/>
              <a:t>Cortana - http://blogs.windows.com/buildingapps/2014/09/23/cortana-integration-and-speech-recognition-new-code-samples/ and https://blogs.windows.com/buildingapps/2015/08/25/using-cortana-to-interact-with-your-customers-10-by-10/ and https://developer.microsoft.com/en-us/Cortana </a:t>
            </a:r>
            <a:r>
              <a:rPr lang="en-US" b="1" dirty="0"/>
              <a:t>(Say It)</a:t>
            </a:r>
            <a:endParaRPr lang="en-US" b="0" dirty="0"/>
          </a:p>
          <a:p>
            <a:pPr marL="228600" indent="-228600">
              <a:buFont typeface="+mj-lt"/>
              <a:buAutoNum type="arabicPeriod"/>
            </a:pPr>
            <a:r>
              <a:rPr lang="en-US" b="0" dirty="0"/>
              <a:t>Cognitive Services</a:t>
            </a:r>
            <a:r>
              <a:rPr lang="en-US" dirty="0"/>
              <a:t> - https://www.microsoft.com/cognitive-services</a:t>
            </a:r>
            <a:endParaRPr lang="en-US" b="0" dirty="0"/>
          </a:p>
          <a:p>
            <a:pPr marL="228600" indent="-228600">
              <a:buFont typeface="+mj-lt"/>
              <a:buAutoNum type="arabicPeriod"/>
            </a:pPr>
            <a:r>
              <a:rPr lang="en-US" b="0" dirty="0"/>
              <a:t>Bot Framework</a:t>
            </a:r>
            <a:r>
              <a:rPr lang="en-US" dirty="0"/>
              <a:t> - https://dev.botframework.com/</a:t>
            </a:r>
            <a:endParaRPr lang="en-US" b="0" dirty="0"/>
          </a:p>
          <a:p>
            <a:pPr marL="228600" indent="-228600">
              <a:buFont typeface="+mj-lt"/>
              <a:buAutoNum type="arabicPeriod"/>
            </a:pPr>
            <a:r>
              <a:rPr lang="en-US" dirty="0"/>
              <a:t>Azure Machine Learning - http://azure.microsoft.com/en-us/services/machine-learning/ </a:t>
            </a:r>
            <a:r>
              <a:rPr lang="en-US" b="1" dirty="0"/>
              <a:t>(Learn It)</a:t>
            </a:r>
          </a:p>
          <a:p>
            <a:pPr marL="228600" indent="-228600">
              <a:buFont typeface="+mj-lt"/>
              <a:buAutoNum type="arabicPeriod"/>
            </a:pPr>
            <a:r>
              <a:rPr lang="en-US" dirty="0"/>
              <a:t>Azure HDInsight - http://azure.microsoft.com/en-us/services/hdinsight/ </a:t>
            </a:r>
            <a:r>
              <a:rPr lang="en-US" b="1" dirty="0"/>
              <a:t>(Scale It)</a:t>
            </a:r>
          </a:p>
          <a:p>
            <a:pPr marL="228600" indent="-228600">
              <a:buFont typeface="+mj-lt"/>
              <a:buAutoNum type="arabicPeriod"/>
            </a:pPr>
            <a:r>
              <a:rPr lang="en-US" dirty="0"/>
              <a:t>Azure Stream Analytics - http://azure.microsoft.com/en-us/services/stream-analytics/ </a:t>
            </a:r>
            <a:r>
              <a:rPr lang="en-US" b="1" dirty="0"/>
              <a:t>(Stream It) </a:t>
            </a:r>
          </a:p>
          <a:p>
            <a:pPr marL="228600" indent="-228600">
              <a:buFont typeface="+mj-lt"/>
              <a:buAutoNum type="arabicPeriod"/>
            </a:pPr>
            <a:r>
              <a:rPr lang="en-US" dirty="0"/>
              <a:t>Analysis Services - https://docs.microsoft.com/en-us/azure/analysis-services/analysis-services-overview</a:t>
            </a:r>
          </a:p>
          <a:p>
            <a:pPr marL="228600" indent="-228600">
              <a:buFont typeface="+mj-lt"/>
              <a:buAutoNum type="arabicPeriod"/>
            </a:pPr>
            <a:r>
              <a:rPr lang="en-US" dirty="0"/>
              <a:t>Power BI - https://powerbi.microsoft.com/ </a:t>
            </a:r>
            <a:r>
              <a:rPr lang="en-US" b="1" dirty="0"/>
              <a:t>(See It)</a:t>
            </a:r>
          </a:p>
          <a:p>
            <a:pPr marL="228600" indent="-228600">
              <a:buFont typeface="+mj-lt"/>
              <a:buAutoNum type="arabicPeriod"/>
            </a:pPr>
            <a:r>
              <a:rPr lang="en-US" dirty="0"/>
              <a:t>All of the components within the suite - https://www.microsoft.com/en-us/server-cloud/cortana-intelligence-suite/what-is-cortana-intelligence.aspx</a:t>
            </a:r>
          </a:p>
          <a:p>
            <a:pPr marL="228600" indent="-228600">
              <a:buFont typeface="+mj-lt"/>
              <a:buAutoNum type="arabicPeriod"/>
            </a:pPr>
            <a:r>
              <a:rPr lang="en-US" dirty="0"/>
              <a:t>Templates - https://gallery.cortanaintelligence.com/browse?orderby=freshness%20desc&amp;skip=0&amp;categories=%5B%2210%22%5D and https://caqs.azure.net/#gallery</a:t>
            </a:r>
          </a:p>
          <a:p>
            <a:pPr marL="228600" indent="-228600">
              <a:buFont typeface="+mj-lt"/>
              <a:buAutoNum type="arabicPeriod"/>
            </a:pPr>
            <a:endParaRPr lang="en-US" b="0" dirty="0"/>
          </a:p>
          <a:p>
            <a:pPr marL="228600" indent="-228600">
              <a:buFont typeface="+mj-lt"/>
              <a:buAutoNum type="arabicPeriod"/>
            </a:pPr>
            <a:endParaRPr lang="en-US"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20907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DevOps</a:t>
            </a:r>
            <a:r>
              <a:rPr lang="en-US" baseline="0" dirty="0"/>
              <a:t> </a:t>
            </a:r>
            <a:r>
              <a:rPr lang="en-US" dirty="0"/>
              <a:t>guide - https://docsmsftpdfs.blob.core.windows.net/guides/azure/azure-ops-guide.pdf</a:t>
            </a:r>
          </a:p>
          <a:p>
            <a:pPr marL="342900" indent="-342900">
              <a:buFont typeface="+mj-lt"/>
              <a:buAutoNum type="arabicPeriod"/>
            </a:pPr>
            <a:r>
              <a:rPr lang="en-US" dirty="0"/>
              <a:t>Azure Design Patterns:</a:t>
            </a:r>
            <a:r>
              <a:rPr lang="en-US" baseline="0" dirty="0"/>
              <a:t> https://blogs.msdn.microsoft.com/uk_faculty_connection/2017/05/17/getting-started-with-azure-design-patterns-and-azure-arm-quick-start-template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112697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2855913" cy="1606550"/>
          </a:xfrm>
        </p:spPr>
      </p:sp>
      <p:sp>
        <p:nvSpPr>
          <p:cNvPr id="3" name="Notes Placeholder 2"/>
          <p:cNvSpPr>
            <a:spLocks noGrp="1"/>
          </p:cNvSpPr>
          <p:nvPr>
            <p:ph type="body" idx="1"/>
          </p:nvPr>
        </p:nvSpPr>
        <p:spPr>
          <a:xfrm>
            <a:off x="121185" y="2445745"/>
            <a:ext cx="6599104" cy="6544019"/>
          </a:xfrm>
        </p:spPr>
        <p:txBody>
          <a:bodyPr/>
          <a:lstStyle/>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Deployment </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rvice Creation and Setup - https://azure.microsoft.com/en-us/offers/ms-azr-0003p/</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uthentication and Access - https://docs.microsoft.com/en-us/azure/active-directory/connect/active-directory-aadconnect</a:t>
            </a:r>
          </a:p>
          <a:p>
            <a:pPr marL="620414" marR="0" lvl="2" indent="-285750" algn="l" defTabSz="931863" rtl="0" eaLnBrk="0" fontAlgn="base" latinLnBrk="0" hangingPunct="0">
              <a:lnSpc>
                <a:spcPct val="100000"/>
              </a:lnSpc>
              <a:spcBef>
                <a:spcPct val="30000"/>
              </a:spcBef>
              <a:spcAft>
                <a:spcPct val="0"/>
              </a:spcAft>
              <a:buClrTx/>
              <a:buSzTx/>
              <a:buFont typeface="+mj-lt"/>
              <a:buAutoNum type="romanL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curity best practices - https://docs.microsoft.com/en-us/azure/active-directory/role-based-access-control-configure</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Cost Management (Pricing) - https://azure.microsoft.com/en-us/pricing/</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Migrations - https://msdn.microsoft.com/en-us/library/dn727097.aspx</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ools</a:t>
            </a:r>
          </a:p>
          <a:p>
            <a:pPr marL="560162" marR="0" lvl="1" indent="-3429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he Azure Portal - https://docs.microsoft.com/en-us/azure/azure-portal-overview </a:t>
            </a:r>
          </a:p>
          <a:p>
            <a:pPr marL="560162" marR="0" lvl="1" indent="-3429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PowerShell - https://docs.microsoft.com/en-us/powershell/azure/overview?view=azurermps-3.8.0</a:t>
            </a:r>
          </a:p>
          <a:p>
            <a:pPr marL="560162" marR="0" lvl="1" indent="-3429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CLI - https://docs.microsoft.com/en-us/cli/azure/install-azure-cli</a:t>
            </a:r>
          </a:p>
          <a:p>
            <a:pPr marL="560162" marR="0" lvl="1" indent="-3429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Others - Visual Studio, System Center, Jenkins, chef</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zure Automation - https://azure.microsoft.com/en-us/services/automation/</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Facilities and Regions  </a:t>
            </a:r>
          </a:p>
          <a:p>
            <a:pPr marL="560162" marR="0" lvl="1" indent="-3429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Locations - https://azure.microsoft.com/en-us/regions/</a:t>
            </a:r>
          </a:p>
          <a:p>
            <a:pPr marL="560162" marR="0" lvl="1" indent="-3429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zure Trust Center - https://azure.microsoft.com/en-us/support/trust-center/</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Resource Grouping</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Resource Groups - https://docs.microsoft.com/en-us/azure/azure-resource-manager/resource-group-overview </a:t>
            </a:r>
          </a:p>
          <a:p>
            <a:pPr marL="620414" marR="0" lvl="2" indent="-285750" algn="l" defTabSz="931863" rtl="0" eaLnBrk="0" fontAlgn="base" latinLnBrk="0" hangingPunct="0">
              <a:lnSpc>
                <a:spcPct val="100000"/>
              </a:lnSpc>
              <a:spcBef>
                <a:spcPct val="30000"/>
              </a:spcBef>
              <a:spcAft>
                <a:spcPct val="0"/>
              </a:spcAft>
              <a:buClrTx/>
              <a:buSzTx/>
              <a:buFont typeface="+mj-lt"/>
              <a:buAutoNum type="romanL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Using the ARM model - https://docs.microsoft.com/en-us/azure/azure-resource-manager/resource-group-template-deploy-portal</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afety - https://docs.microsoft.com/en-us/azure/storage/storage-redundancy </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uditing - https://msdn.microsoft.com/en-us/library/mt662411.aspx?f=255&amp;MSPPError=-2147217396</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roubleshooting and Support - https://azure.microsoft.com/en-us/blog/understanding-azure-troubleshooting-and-support/</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endPar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endParaRPr>
          </a:p>
          <a:p>
            <a:pPr marL="0" marR="0" indent="0" algn="l" defTabSz="931863" rtl="0" eaLnBrk="0" fontAlgn="base" latinLnBrk="0" hangingPunct="0">
              <a:lnSpc>
                <a:spcPct val="100000"/>
              </a:lnSpc>
              <a:spcBef>
                <a:spcPct val="30000"/>
              </a:spcBef>
              <a:spcAft>
                <a:spcPct val="0"/>
              </a:spcAft>
              <a:buClrTx/>
              <a:buSzTx/>
              <a:buFont typeface="+mj-lt"/>
              <a:buNone/>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pecial considerations for Advanced Analytics:</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ccount management</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torage and redundancy</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Privacy and data protection</a:t>
            </a:r>
          </a:p>
          <a:p>
            <a:pPr marL="171450" marR="0" lvl="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cheduling and Pipelined workflows</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Networking - https://www.simple-talk.com/cloud/cloud-data/azure-networking-sql-server-dbas/</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Optimization</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curity</a:t>
            </a:r>
          </a:p>
          <a:p>
            <a:pPr marL="171450" marR="0" lvl="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dvanced Analytics Services awareness – data transfer, storage and processing</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Dependencies and interactions</a:t>
            </a: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8239781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381000" y="2599981"/>
            <a:ext cx="6096000" cy="6235547"/>
          </a:xfrm>
        </p:spPr>
        <p:txBody>
          <a:bodyPr/>
          <a:lstStyle/>
          <a:p>
            <a:pPr marL="445862" lvl="1" indent="-228600">
              <a:buFont typeface="+mj-lt"/>
              <a:buAutoNum type="arabicPeriod"/>
              <a:defRPr/>
            </a:pPr>
            <a:r>
              <a:rPr lang="en-US" dirty="0">
                <a:latin typeface="+mn-lt"/>
              </a:rPr>
              <a:t>Learn about Resource</a:t>
            </a:r>
            <a:r>
              <a:rPr lang="en-US" baseline="0" dirty="0">
                <a:latin typeface="+mn-lt"/>
              </a:rPr>
              <a:t> Groups - r</a:t>
            </a:r>
            <a:r>
              <a:rPr lang="en-US" dirty="0">
                <a:latin typeface="+mn-lt"/>
              </a:rPr>
              <a:t>ead this page: https://docs.microsoft.com/en-us/azure/azure-resource-manager/resource-group-portal</a:t>
            </a:r>
          </a:p>
          <a:p>
            <a:pPr marL="445862" marR="0" lvl="1"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latin typeface="+mn-lt"/>
              </a:rPr>
              <a:t>Open this location: </a:t>
            </a:r>
            <a:r>
              <a:rPr lang="en-US" sz="1400" kern="1200" dirty="0">
                <a:solidFill>
                  <a:schemeClr val="tx1"/>
                </a:solidFill>
                <a:effectLst/>
                <a:latin typeface="Segoe UI Light" pitchFamily="34" charset="0"/>
                <a:ea typeface="+mn-ea"/>
                <a:cs typeface="+mn-cs"/>
              </a:rPr>
              <a:t>https://github.com/Azure/LearnAnalytics-Building-Solutions-with-the-Cortana-Intelligence-Suite/blob/master/Students/Resources/ClassAccess.md </a:t>
            </a:r>
            <a:endParaRPr lang="en-US" dirty="0">
              <a:latin typeface="+mn-lt"/>
            </a:endParaRPr>
          </a:p>
          <a:p>
            <a:pPr marL="563264" lvl="2" indent="-228600">
              <a:buFont typeface="+mj-lt"/>
              <a:buAutoNum type="arabicPeriod"/>
              <a:defRPr/>
            </a:pPr>
            <a:r>
              <a:rPr lang="en-US" dirty="0">
                <a:latin typeface="+mn-lt"/>
              </a:rPr>
              <a:t>Deploy one Data Science Virtual Machine as per the instructions</a:t>
            </a:r>
          </a:p>
          <a:p>
            <a:pPr marL="563264" lvl="2" indent="-228600">
              <a:buFont typeface="+mj-lt"/>
              <a:buAutoNum type="arabicPeriod"/>
              <a:defRPr/>
            </a:pPr>
            <a:r>
              <a:rPr lang="en-US" dirty="0">
                <a:latin typeface="+mn-lt"/>
              </a:rPr>
              <a:t>Note your admin name and password</a:t>
            </a:r>
          </a:p>
          <a:p>
            <a:pPr marL="445862" lvl="1" indent="-228600">
              <a:buFont typeface="+mj-lt"/>
              <a:buAutoNum type="arabicPeriod"/>
              <a:defRPr/>
            </a:pPr>
            <a:r>
              <a:rPr lang="en-US" dirty="0">
                <a:latin typeface="+mn-lt"/>
              </a:rPr>
              <a:t>Log in to</a:t>
            </a:r>
            <a:r>
              <a:rPr lang="en-US" baseline="0" dirty="0">
                <a:latin typeface="+mn-lt"/>
              </a:rPr>
              <a:t> the Azure Portal (http://portal.azure.com) using an “In-Private” browser, and s</a:t>
            </a:r>
            <a:r>
              <a:rPr lang="en-US" dirty="0">
                <a:latin typeface="+mn-lt"/>
              </a:rPr>
              <a:t>tart the DSVM</a:t>
            </a:r>
          </a:p>
          <a:p>
            <a:pPr marL="445862" lvl="1" indent="-228600">
              <a:buFont typeface="+mj-lt"/>
              <a:buAutoNum type="arabicPeriod"/>
              <a:defRPr/>
            </a:pPr>
            <a:r>
              <a:rPr lang="en-US" dirty="0">
                <a:latin typeface="+mn-lt"/>
              </a:rPr>
              <a:t>As directed by the instructor: </a:t>
            </a:r>
          </a:p>
          <a:p>
            <a:pPr marL="563264" lvl="2" indent="-228600">
              <a:buFont typeface="+mj-lt"/>
              <a:buAutoNum type="alphaLcPeriod"/>
              <a:defRPr/>
            </a:pPr>
            <a:r>
              <a:rPr lang="en-US" dirty="0">
                <a:latin typeface="+mn-lt"/>
              </a:rPr>
              <a:t>Connect to the DSVM and begin updating the Power BI, Visual Studio, and Windows environments - Need help? Check here: https://azure.microsoft.com/en-us/documentation/articles/virtual-machines-windows-connect-logon/ </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0038685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Using Azure for Dev/Test: https://azure.microsoft.com/en-us/solutions/dev-test/</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319270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380999" y="2566931"/>
            <a:ext cx="6218105" cy="6223772"/>
          </a:xfrm>
        </p:spPr>
        <p:txBody>
          <a:bodyPr/>
          <a:lstStyle/>
          <a:p>
            <a:pPr marL="228600" indent="-228600">
              <a:buFont typeface="+mj-lt"/>
              <a:buAutoNum type="arabicPeriod"/>
            </a:pPr>
            <a:r>
              <a:rPr lang="en-US" dirty="0"/>
              <a:t>The Azure Portal: https://portal.azure.com/ and OMS: https://azure.microsoft.com/en-us/documentation/articles/operations-management-suite-overview/ </a:t>
            </a:r>
          </a:p>
          <a:p>
            <a:pPr marL="560162" lvl="1" indent="-342900">
              <a:buFont typeface="+mj-lt"/>
              <a:buAutoNum type="alphaLcPeriod"/>
            </a:pPr>
            <a:r>
              <a:rPr lang="en-US" dirty="0"/>
              <a:t>Also, customizations: https://www.youtube.com/playlist?list=PLFuGXEPUdlxLwxsfkvpdvAGInsLDfgvvC</a:t>
            </a:r>
          </a:p>
          <a:p>
            <a:pPr marL="228600" indent="-228600">
              <a:buFont typeface="+mj-lt"/>
              <a:buAutoNum type="arabicPeriod"/>
            </a:pPr>
            <a:r>
              <a:rPr lang="en-US" dirty="0"/>
              <a:t>Azure SDK: https://go.microsoft.com/fwlink/?linkid=518003&amp;clcid=0x409</a:t>
            </a:r>
          </a:p>
          <a:p>
            <a:pPr marL="228600" indent="-228600">
              <a:buFont typeface="+mj-lt"/>
              <a:buAutoNum type="arabicPeriod"/>
            </a:pPr>
            <a:r>
              <a:rPr lang="en-US" dirty="0"/>
              <a:t>Azure PowerShell: https://azure.microsoft.com/en-us/documentation/articles/powershell-install-configure/#what-is-azure-powershell and ARM Templates: https://azure.microsoft.com/en-us/documentation/articles/resource-group-overview/</a:t>
            </a:r>
          </a:p>
          <a:p>
            <a:pPr marL="228600" indent="-228600">
              <a:buFont typeface="+mj-lt"/>
              <a:buAutoNum type="arabicPeriod"/>
            </a:pPr>
            <a:r>
              <a:rPr lang="en-US" dirty="0"/>
              <a:t>Azure Data Catalog (use an InPrivate browser tab): http://azuredatacatalog.com</a:t>
            </a:r>
          </a:p>
          <a:p>
            <a:pPr marL="228600" indent="-228600">
              <a:buFont typeface="+mj-lt"/>
              <a:buAutoNum type="arabicPeriod"/>
            </a:pPr>
            <a:r>
              <a:rPr lang="en-US" dirty="0"/>
              <a:t>Azure Machine Learning: http://studio.azureml.net</a:t>
            </a:r>
          </a:p>
          <a:p>
            <a:pPr marL="228600" indent="-228600">
              <a:buFont typeface="+mj-lt"/>
              <a:buAutoNum type="arabicPeriod"/>
            </a:pPr>
            <a:r>
              <a:rPr lang="en-US" dirty="0"/>
              <a:t>Visual Studio Interface: https://msdn.microsoft.com/en-us/library/dn762121.aspx</a:t>
            </a:r>
          </a:p>
          <a:p>
            <a:pPr marL="228600" indent="-228600">
              <a:buFont typeface="+mj-lt"/>
              <a:buAutoNum type="arabicPeriod"/>
            </a:pPr>
            <a:r>
              <a:rPr lang="en-US" dirty="0"/>
              <a:t>Installing R Tools for Visual Studio (RTVS): https://www.visualstudio.com/en-us/features/rtvs-vs.aspx</a:t>
            </a:r>
          </a:p>
          <a:p>
            <a:pPr marL="228600" indent="-228600">
              <a:buFont typeface="+mj-lt"/>
              <a:buAutoNum type="arabicPeriod"/>
            </a:pPr>
            <a:r>
              <a:rPr lang="en-US" dirty="0"/>
              <a:t>Azure PowerShell: http://aka.ms/webpi-azps</a:t>
            </a:r>
          </a:p>
          <a:p>
            <a:pPr marL="228600" indent="-228600">
              <a:buFont typeface="+mj-lt"/>
              <a:buAutoNum type="arabicPeriod"/>
            </a:pPr>
            <a:r>
              <a:rPr lang="en-US" dirty="0"/>
              <a:t>Storage Explorer: https://go.microsoft.com/fwlink/?linkid=698844&amp;clcid=0x409</a:t>
            </a:r>
            <a:endParaRPr lang="en-US" sz="1400" dirty="0"/>
          </a:p>
          <a:p>
            <a:pPr marL="228600" indent="-228600">
              <a:buFont typeface="+mj-lt"/>
              <a:buAutoNum type="arabicPeriod"/>
            </a:pPr>
            <a:endParaRPr lang="en-US" sz="1400" dirty="0"/>
          </a:p>
          <a:p>
            <a:pPr marL="228600" indent="-228600">
              <a:buFont typeface="+mj-lt"/>
              <a:buAutoNum type="arabicPeriod"/>
            </a:pPr>
            <a:endParaRPr lang="en-US" sz="14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26510149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381000" y="2577947"/>
            <a:ext cx="6096000" cy="5880253"/>
          </a:xfrm>
        </p:spPr>
        <p:txBody>
          <a:bodyPr/>
          <a:lstStyle/>
          <a:p>
            <a:pPr marL="228600" indent="-228600">
              <a:buFont typeface="+mj-lt"/>
              <a:buAutoNum type="arabicPeriod"/>
            </a:pPr>
            <a:r>
              <a:rPr lang="en-US" dirty="0"/>
              <a:t>Data Storage Options (Building Real-World Cloud Apps with Azure): https://www.asp.net/aspnet/overview/developing-apps-with-windows-azure/building-real-world-cloud-apps-with-windows-azure/data-storage-options</a:t>
            </a:r>
          </a:p>
          <a:p>
            <a:pPr marL="228600" indent="-228600">
              <a:buFont typeface="+mj-lt"/>
              <a:buAutoNum type="arabicPeriod"/>
            </a:pPr>
            <a:r>
              <a:rPr lang="en-US" dirty="0"/>
              <a:t>Options: https://blogs.msdn.microsoft.com/uk_faculty_connection/2017/02/24/big-data-and-azure/</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042483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3072386" cy="1728689"/>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A quick Overview: https://channel9.msdn.com/Blogs/Windows-Azure/Azure-Storage-5-Minute-Overview</a:t>
            </a:r>
          </a:p>
          <a:p>
            <a:pPr marL="342900" indent="-342900">
              <a:buFont typeface="+mj-lt"/>
              <a:buAutoNum type="arabicPeriod"/>
            </a:pPr>
            <a:r>
              <a:rPr lang="en-US" dirty="0"/>
              <a:t>More on Storage: https://azure.microsoft.com/en-us/documentation/articles/storage-introduction/</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327641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a:t>
            </a:r>
            <a:r>
              <a:rPr lang="en-US" dirty="0"/>
              <a:t>page – https://aka.ms/businessanalyticsandai </a:t>
            </a:r>
            <a:endParaRPr lang="en-US" sz="1800" baseline="0" dirty="0"/>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i="1"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22589257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2907133" cy="1635709"/>
          </a:xfrm>
        </p:spPr>
      </p:sp>
      <p:sp>
        <p:nvSpPr>
          <p:cNvPr id="3" name="Notes Placeholder 2"/>
          <p:cNvSpPr>
            <a:spLocks noGrp="1"/>
          </p:cNvSpPr>
          <p:nvPr>
            <p:ph type="body" idx="1"/>
          </p:nvPr>
        </p:nvSpPr>
        <p:spPr>
          <a:xfrm>
            <a:off x="519113" y="2533881"/>
            <a:ext cx="5969822" cy="5924320"/>
          </a:xfrm>
        </p:spPr>
        <p:txBody>
          <a:bodyPr/>
          <a:lstStyle/>
          <a:p>
            <a:pPr marL="228600" indent="-228600" fontAlgn="ctr">
              <a:buFont typeface="+mj-lt"/>
              <a:buAutoNum type="arabicPeriod"/>
            </a:pPr>
            <a:r>
              <a:rPr lang="en-US" dirty="0"/>
              <a:t>Locations and Redundancy Overview: https://azure.microsoft.com/en-us/documentation/articles/storage-introduction/</a:t>
            </a:r>
          </a:p>
          <a:p>
            <a:pPr marL="228600" indent="-228600" fontAlgn="ctr">
              <a:buFont typeface="+mj-lt"/>
              <a:buAutoNum type="arabicPeriod"/>
            </a:pPr>
            <a:r>
              <a:rPr lang="en-US" dirty="0"/>
              <a:t>Affects on Scalability and Performance Targets: https://azure.microsoft.com/en-us/documentation/articles/storage-scalability-targets/</a:t>
            </a:r>
          </a:p>
          <a:p>
            <a:pPr marL="228600" indent="-228600" fontAlgn="ctr">
              <a:buFont typeface="+mj-lt"/>
              <a:buAutoNum type="arabicPeriod"/>
            </a:pPr>
            <a:r>
              <a:rPr lang="en-US" dirty="0"/>
              <a:t>Pricing Details: https://azure.microsoft.com/en-us/pricing/details/storage/</a:t>
            </a:r>
            <a:endParaRPr lang="en-US" b="0" i="0" kern="1200" dirty="0">
              <a:solidFill>
                <a:schemeClr val="tx1"/>
              </a:solidFill>
              <a:effectLst/>
              <a:ea typeface="+mn-ea"/>
              <a:cs typeface="+mn-cs"/>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880095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644048"/>
            <a:ext cx="6096000" cy="5814152"/>
          </a:xfrm>
        </p:spPr>
        <p:txBody>
          <a:bodyPr>
            <a:normAutofit/>
          </a:bodyPr>
          <a:lstStyle/>
          <a:p>
            <a:pPr marL="228600" marR="0" lvl="0" indent="-228600" algn="l" defTabSz="932742" rtl="0" eaLnBrk="1" fontAlgn="ctr" latinLnBrk="0" hangingPunct="1">
              <a:lnSpc>
                <a:spcPct val="90000"/>
              </a:lnSpc>
              <a:spcBef>
                <a:spcPts val="0"/>
              </a:spcBef>
              <a:spcAft>
                <a:spcPts val="340"/>
              </a:spcAft>
              <a:buClrTx/>
              <a:buSzTx/>
              <a:buFont typeface="+mj-lt"/>
              <a:buAutoNum type="arabicPeriod"/>
              <a:tabLst/>
              <a:defRPr/>
            </a:pPr>
            <a:r>
              <a:rPr lang="en-US" b="0" i="0" kern="1200" dirty="0">
                <a:solidFill>
                  <a:schemeClr val="tx1"/>
                </a:solidFill>
                <a:effectLst/>
                <a:latin typeface="Segoe UI" pitchFamily="34" charset="0"/>
              </a:rPr>
              <a:t>Redundancy</a:t>
            </a:r>
            <a:r>
              <a:rPr lang="en-US" b="0" i="0" kern="1200" baseline="0" dirty="0">
                <a:solidFill>
                  <a:schemeClr val="tx1"/>
                </a:solidFill>
                <a:effectLst/>
                <a:latin typeface="Segoe UI" pitchFamily="34" charset="0"/>
              </a:rPr>
              <a:t> and location information: https://docs.microsoft.com/en-us/azure/storage/storage-redundancy</a:t>
            </a:r>
            <a:endParaRPr lang="en-US" b="0" i="0" kern="1200" dirty="0">
              <a:solidFill>
                <a:schemeClr val="tx1"/>
              </a:solidFill>
              <a:effectLst/>
              <a:latin typeface="Segoe UI" pitchFamily="34" charset="0"/>
            </a:endParaRPr>
          </a:p>
          <a:p>
            <a:pPr marL="0" indent="0" rtl="0" fontAlgn="ctr">
              <a:buFont typeface="+mj-lt"/>
              <a:buNone/>
            </a:pPr>
            <a:endParaRPr lang="en-US" b="0" i="0" kern="1200" dirty="0">
              <a:solidFill>
                <a:schemeClr val="tx1"/>
              </a:solidFill>
              <a:effectLst/>
            </a:endParaRPr>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16750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588964"/>
            <a:ext cx="6096000" cy="5869236"/>
          </a:xfrm>
        </p:spPr>
        <p:txBody>
          <a:bodyPr/>
          <a:lstStyle/>
          <a:p>
            <a:pPr marL="228600" indent="-228600">
              <a:buFont typeface="+mj-lt"/>
              <a:buAutoNum type="arabicPeriod"/>
            </a:pPr>
            <a:r>
              <a:rPr lang="en-US" dirty="0"/>
              <a:t>Azure Portal - https://portal.azure.com/</a:t>
            </a:r>
          </a:p>
          <a:p>
            <a:pPr marL="228600" indent="-228600">
              <a:buFont typeface="+mj-lt"/>
              <a:buAutoNum type="arabicPeriod"/>
            </a:pPr>
            <a:r>
              <a:rPr lang="en-US" dirty="0"/>
              <a:t>Azure PowerShell - https://azure.microsoft.com/en-us/documentation/articles/storage-powershell-guide-full/</a:t>
            </a:r>
          </a:p>
          <a:p>
            <a:pPr marL="228600" indent="-228600">
              <a:buFont typeface="+mj-lt"/>
              <a:buAutoNum type="arabicPeriod"/>
            </a:pPr>
            <a:r>
              <a:rPr lang="en-US" dirty="0"/>
              <a:t>AZCOPY - https://azure.microsoft.com/en-us/documentation/articles/storage-use-azcopy/</a:t>
            </a:r>
          </a:p>
          <a:p>
            <a:pPr marL="228600" indent="-228600">
              <a:buFont typeface="+mj-lt"/>
              <a:buAutoNum type="arabicPeriod"/>
            </a:pPr>
            <a:r>
              <a:rPr lang="en-US" dirty="0"/>
              <a:t>Azure CLI - https://azure.microsoft.com/en-us/documentation/articles/storage-azure-cli/</a:t>
            </a:r>
          </a:p>
          <a:p>
            <a:pPr marL="228600" indent="-228600">
              <a:buFont typeface="+mj-lt"/>
              <a:buAutoNum type="arabicPeriod"/>
            </a:pPr>
            <a:r>
              <a:rPr lang="en-US" dirty="0"/>
              <a:t>Service management REST API - http://msdn.microsoft.com/library/azure/ee460799.aspx</a:t>
            </a:r>
          </a:p>
          <a:p>
            <a:pPr marL="228600" indent="-228600">
              <a:buFont typeface="+mj-lt"/>
              <a:buAutoNum type="arabicPeriod"/>
            </a:pPr>
            <a:r>
              <a:rPr lang="en-US" dirty="0"/>
              <a:t>Azure Storage Resource Provider REST API - https://msdn.microsoft.com/library/azure/mt163683.aspx</a:t>
            </a:r>
          </a:p>
          <a:p>
            <a:pPr marL="228600" indent="-2286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6393155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Open the Azure Portal, create a Blob Storage Account in the region closest to your DVSM – note the name and access keys in NOTEPAD.EXE</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From your DSVM, or if you installed the AZCOPY tool locally, open a command prompt. (Note: If you loaded AZCOPY locally, you will need to update your PATH system variable so that you can follow</a:t>
            </a:r>
            <a:r>
              <a:rPr lang="en-US" kern="1200" baseline="0" dirty="0">
                <a:solidFill>
                  <a:schemeClr val="tx1"/>
                </a:solidFill>
                <a:latin typeface="Segoe UI Light" pitchFamily="34" charset="0"/>
                <a:ea typeface="+mn-ea"/>
                <a:cs typeface="+mn-cs"/>
              </a:rPr>
              <a:t> these instructions)</a:t>
            </a:r>
            <a:endParaRPr lang="en-US" kern="1200" dirty="0">
              <a:solidFill>
                <a:schemeClr val="tx1"/>
              </a:solidFill>
              <a:latin typeface="Segoe UI Light" pitchFamily="34" charset="0"/>
              <a:ea typeface="+mn-ea"/>
              <a:cs typeface="+mn-cs"/>
            </a:endParaRPr>
          </a:p>
          <a:p>
            <a:pPr marL="228600" lvl="0" indent="-228600">
              <a:buFont typeface="+mj-lt"/>
              <a:buAutoNum type="arabicPeriod"/>
              <a:defRPr/>
            </a:pPr>
            <a:r>
              <a:rPr lang="en-US" kern="1200" dirty="0">
                <a:solidFill>
                  <a:schemeClr val="tx1"/>
                </a:solidFill>
                <a:latin typeface="Segoe UI Light" pitchFamily="34" charset="0"/>
                <a:ea typeface="+mn-ea"/>
                <a:cs typeface="+mn-cs"/>
              </a:rPr>
              <a:t>Navigate to this page: </a:t>
            </a:r>
            <a:r>
              <a:rPr lang="en-US" dirty="0"/>
              <a:t>https://azure.microsoft.com/en-us/documentation/articles/storage-use-azcopy/</a:t>
            </a:r>
          </a:p>
          <a:p>
            <a:pPr marL="228600" lvl="0" indent="-228600">
              <a:buFont typeface="+mj-lt"/>
              <a:buAutoNum type="arabicPeriod"/>
              <a:defRPr/>
            </a:pPr>
            <a:r>
              <a:rPr lang="en-US" dirty="0"/>
              <a:t>Locate </a:t>
            </a:r>
            <a:r>
              <a:rPr lang="en-US" kern="1200" dirty="0">
                <a:solidFill>
                  <a:schemeClr val="tx1"/>
                </a:solidFill>
                <a:latin typeface="Segoe UI Light" pitchFamily="34" charset="0"/>
                <a:ea typeface="+mn-ea"/>
                <a:cs typeface="+mn-cs"/>
              </a:rPr>
              <a:t>the section marked “</a:t>
            </a:r>
            <a:r>
              <a:rPr lang="en-US" b="1" kern="1200" dirty="0">
                <a:solidFill>
                  <a:schemeClr val="tx1"/>
                </a:solidFill>
                <a:latin typeface="Segoe UI Light" pitchFamily="34" charset="0"/>
                <a:ea typeface="+mn-ea"/>
                <a:cs typeface="+mn-cs"/>
              </a:rPr>
              <a:t>Blob: Upload </a:t>
            </a:r>
            <a:r>
              <a:rPr lang="en-US" kern="1200" dirty="0">
                <a:solidFill>
                  <a:schemeClr val="tx1"/>
                </a:solidFill>
                <a:latin typeface="Segoe UI Light" pitchFamily="34" charset="0"/>
                <a:ea typeface="+mn-ea"/>
                <a:cs typeface="+mn-cs"/>
              </a:rPr>
              <a:t>- </a:t>
            </a:r>
            <a:r>
              <a:rPr lang="en-US" b="1" kern="1200" dirty="0">
                <a:solidFill>
                  <a:schemeClr val="tx1"/>
                </a:solidFill>
                <a:latin typeface="Segoe UI Light" pitchFamily="34" charset="0"/>
                <a:ea typeface="+mn-ea"/>
                <a:cs typeface="+mn-cs"/>
              </a:rPr>
              <a:t>Upload single file</a:t>
            </a:r>
            <a:r>
              <a:rPr lang="en-US" kern="1200" dirty="0">
                <a:solidFill>
                  <a:schemeClr val="tx1"/>
                </a:solidFill>
                <a:latin typeface="Segoe UI Light" pitchFamily="34" charset="0"/>
                <a:ea typeface="+mn-ea"/>
                <a:cs typeface="+mn-cs"/>
              </a:rPr>
              <a:t>” and follow the instructions to load one file to your storage account, using your Storage Account and storage keys.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Next, locate the section on the web page with instructions marked “</a:t>
            </a:r>
            <a:r>
              <a:rPr lang="en-US" b="1" kern="1200" dirty="0">
                <a:solidFill>
                  <a:schemeClr val="tx1"/>
                </a:solidFill>
                <a:latin typeface="Segoe UI Light" pitchFamily="34" charset="0"/>
                <a:ea typeface="+mn-ea"/>
                <a:cs typeface="+mn-cs"/>
              </a:rPr>
              <a:t>Blob: Download</a:t>
            </a:r>
            <a:r>
              <a:rPr lang="en-US" kern="1200" dirty="0">
                <a:solidFill>
                  <a:schemeClr val="tx1"/>
                </a:solidFill>
                <a:latin typeface="Segoe UI Light" pitchFamily="34" charset="0"/>
                <a:ea typeface="+mn-ea"/>
                <a:cs typeface="+mn-cs"/>
              </a:rPr>
              <a:t> - </a:t>
            </a:r>
            <a:r>
              <a:rPr lang="en-US" b="1" kern="1200" dirty="0">
                <a:solidFill>
                  <a:schemeClr val="tx1"/>
                </a:solidFill>
                <a:latin typeface="Segoe UI Light" pitchFamily="34" charset="0"/>
                <a:ea typeface="+mn-ea"/>
                <a:cs typeface="+mn-cs"/>
              </a:rPr>
              <a:t>Download single blob</a:t>
            </a:r>
            <a:r>
              <a:rPr lang="en-US" kern="1200" dirty="0">
                <a:solidFill>
                  <a:schemeClr val="tx1"/>
                </a:solidFill>
                <a:latin typeface="Segoe UI Light" pitchFamily="34" charset="0"/>
                <a:ea typeface="+mn-ea"/>
                <a:cs typeface="+mn-cs"/>
              </a:rPr>
              <a:t>”. Follow the instructions there to copy your file to a new folder on your local computer.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0554656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340350" cy="3003550"/>
          </a:xfrm>
        </p:spPr>
      </p:sp>
      <p:sp>
        <p:nvSpPr>
          <p:cNvPr id="3" name="Notes Placeholder 2"/>
          <p:cNvSpPr>
            <a:spLocks noGrp="1"/>
          </p:cNvSpPr>
          <p:nvPr>
            <p:ph type="body" idx="1"/>
          </p:nvPr>
        </p:nvSpPr>
        <p:spPr>
          <a:xfrm>
            <a:off x="381000" y="3888275"/>
            <a:ext cx="6269182" cy="4909361"/>
          </a:xfrm>
        </p:spPr>
        <p:txBody>
          <a:bodyPr/>
          <a:lstStyle/>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381000" y="2555913"/>
            <a:ext cx="6096000" cy="5902287"/>
          </a:xfrm>
        </p:spPr>
        <p:txBody>
          <a:bodyPr/>
          <a:lstStyle/>
          <a:p>
            <a:endParaRPr lang="en-US"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90659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610998"/>
            <a:ext cx="6294120" cy="6246563"/>
          </a:xfrm>
        </p:spPr>
        <p:txBody>
          <a:bodyPr/>
          <a:lstStyle/>
          <a:p>
            <a:r>
              <a:rPr lang="en-US" sz="1400" dirty="0"/>
              <a:t>There will be a</a:t>
            </a:r>
            <a:r>
              <a:rPr lang="en-US" sz="1400" baseline="0" dirty="0"/>
              <a:t> general feedback form, but after each module you are asked if you can complete the objectives. If you cannot, let the instructor know.</a:t>
            </a:r>
          </a:p>
          <a:p>
            <a:endParaRPr lang="en-US" sz="1400" dirty="0"/>
          </a:p>
          <a:p>
            <a:r>
              <a:rPr lang="en-US" sz="1400" dirty="0"/>
              <a:t>There are a few things you need prior to coming to class:</a:t>
            </a:r>
          </a:p>
          <a:p>
            <a:endParaRPr lang="en-US" sz="1400" dirty="0"/>
          </a:p>
          <a:p>
            <a:r>
              <a:rPr lang="en-US" sz="1400" dirty="0"/>
              <a:t>• A background in data technologies, such as working with Relational and Non-Relational data processing systems </a:t>
            </a:r>
          </a:p>
          <a:p>
            <a:r>
              <a:rPr lang="en-US" sz="1400" dirty="0"/>
              <a:t>• A general level of predictive and classification Statistics</a:t>
            </a:r>
          </a:p>
          <a:p>
            <a:r>
              <a:rPr lang="en-US" sz="1400" dirty="0"/>
              <a:t>• A general understanding of Machine Learning</a:t>
            </a:r>
          </a:p>
          <a:p>
            <a:r>
              <a:rPr lang="en-US" sz="1400" dirty="0"/>
              <a:t>• A subscription to Microsoft Azure (this may be provided through your company or as part of your invitation)</a:t>
            </a:r>
          </a:p>
          <a:p>
            <a:endParaRPr lang="en-US" sz="14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36186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r>
              <a:rPr lang="en-US" i="1" kern="1200" baseline="0" dirty="0">
                <a:solidFill>
                  <a:schemeClr val="tx1"/>
                </a:solidFill>
              </a:rPr>
              <a:t>Optional, if using your local Windows machine (the Data Science Virtual Machine located in later labs already has these items installed):</a:t>
            </a:r>
          </a:p>
          <a:p>
            <a:pPr marL="0" lvl="0" indent="0">
              <a:buFont typeface="+mj-lt"/>
              <a:buNone/>
              <a:defRPr/>
            </a:pPr>
            <a:endParaRPr lang="en-US" i="1" kern="1200" baseline="0" dirty="0">
              <a:solidFill>
                <a:schemeClr val="tx1"/>
              </a:solidFill>
            </a:endParaRPr>
          </a:p>
          <a:p>
            <a:pPr marL="560162" lvl="1" indent="-342900">
              <a:buFont typeface="+mj-lt"/>
              <a:buAutoNum type="arabicPeriod"/>
              <a:defRPr/>
            </a:pPr>
            <a:r>
              <a:rPr lang="en-US" dirty="0"/>
              <a:t>Install</a:t>
            </a:r>
            <a:r>
              <a:rPr lang="en-US" baseline="0" dirty="0"/>
              <a:t> </a:t>
            </a:r>
            <a:r>
              <a:rPr lang="en-US" dirty="0"/>
              <a:t>Visual Studio 2017 Community</a:t>
            </a:r>
            <a:r>
              <a:rPr lang="en-US" baseline="0" dirty="0"/>
              <a:t> Edition and select the “Data Science” workload: https://www.visualstudio.com/vs/community/ </a:t>
            </a:r>
          </a:p>
          <a:p>
            <a:pPr marL="560162" lvl="1" indent="-342900">
              <a:buFont typeface="+mj-lt"/>
              <a:buAutoNum type="arabicPeriod"/>
              <a:defRPr/>
            </a:pPr>
            <a:r>
              <a:rPr lang="en-US" baseline="0" dirty="0"/>
              <a:t>Install Power BI Desktop: https://powerbi.microsoft.com/en-us/desktop/ </a:t>
            </a:r>
          </a:p>
          <a:p>
            <a:pPr marL="560162" lvl="1" indent="-342900">
              <a:buFont typeface="+mj-lt"/>
              <a:buAutoNum type="arabicPeriod"/>
              <a:defRPr/>
            </a:pPr>
            <a:r>
              <a:rPr lang="en-US" baseline="0" dirty="0"/>
              <a:t>Install the Azure SDK: https://www.visualstudio.com/downloads/ </a:t>
            </a:r>
          </a:p>
          <a:p>
            <a:pPr marL="560162" lvl="1" indent="-342900">
              <a:buFont typeface="+mj-lt"/>
              <a:buAutoNum type="arabicPeriod"/>
              <a:defRPr/>
            </a:pPr>
            <a:r>
              <a:rPr lang="en-US" baseline="0" dirty="0"/>
              <a:t>Install Azure PowerShell: https://www.microsoft.com/web/handlers/webpi.ashx/getinstaller/WindowsAzurePowershellGet.3f.3f.3fnew.appids </a:t>
            </a:r>
          </a:p>
          <a:p>
            <a:pPr marL="560162" lvl="1" indent="-342900">
              <a:buFont typeface="+mj-lt"/>
              <a:buAutoNum type="arabicPeriod"/>
              <a:defRPr/>
            </a:pPr>
            <a:r>
              <a:rPr lang="en-US" baseline="0" dirty="0"/>
              <a:t>Install Azure CLI: https://docs.microsoft.com/en-us/cli/azure/install-azure-cli </a:t>
            </a:r>
          </a:p>
          <a:p>
            <a:pPr marL="560162" lvl="1" indent="-342900">
              <a:buFont typeface="+mj-lt"/>
              <a:buAutoNum type="arabicPeriod"/>
              <a:defRPr/>
            </a:pPr>
            <a:r>
              <a:rPr lang="en-US" baseline="0" dirty="0"/>
              <a:t>Install AZ Copy: https://aka.ms/downloadazcopy </a:t>
            </a:r>
            <a:r>
              <a:rPr lang="en-US" dirty="0"/>
              <a:t>and add it to your PATH variable in Windows</a:t>
            </a:r>
            <a:endParaRPr lang="en-US" baseline="0" dirty="0"/>
          </a:p>
          <a:p>
            <a:pPr marL="560162" lvl="1" indent="-342900">
              <a:buFont typeface="+mj-lt"/>
              <a:buAutoNum type="arabicPeriod"/>
              <a:defRPr/>
            </a:pPr>
            <a:r>
              <a:rPr lang="en-US" baseline="0" dirty="0"/>
              <a:t>Open Visual Studio, add in Extensions and Updates for the Azure Cloud Explorer, the Azure Data Factory, Azure HDInsight and other Business Analytics and AI platform Extensions as instructed.</a:t>
            </a:r>
            <a:endParaRPr lang="en-US" dirty="0"/>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356836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At the</a:t>
            </a:r>
            <a:r>
              <a:rPr lang="en-US" baseline="0" dirty="0"/>
              <a:t> end of this Module, you will:</a:t>
            </a:r>
          </a:p>
          <a:p>
            <a:pPr marL="445862" lvl="1" indent="-228600">
              <a:buFont typeface="+mj-lt"/>
              <a:buAutoNum type="arabicPeriod"/>
            </a:pPr>
            <a:r>
              <a:rPr lang="en-US" baseline="0" dirty="0"/>
              <a:t>Understand the Team Data Science Process</a:t>
            </a:r>
          </a:p>
          <a:p>
            <a:pPr marL="445862" lvl="1" indent="-228600">
              <a:buFont typeface="+mj-lt"/>
              <a:buAutoNum type="arabicPeriod"/>
            </a:pPr>
            <a:r>
              <a:rPr lang="en-US" baseline="0" dirty="0"/>
              <a:t>Understand the </a:t>
            </a:r>
            <a:r>
              <a:rPr kumimoji="0" lang="en-US" sz="1400" b="0" i="0" u="none" strike="noStrike" kern="1200" cap="none" spc="0" normalizeH="0" baseline="0" noProof="0" dirty="0">
                <a:ln>
                  <a:noFill/>
                </a:ln>
                <a:solidFill>
                  <a:srgbClr val="00B050"/>
                </a:solidFill>
                <a:effectLst/>
                <a:uLnTx/>
                <a:uFillTx/>
                <a:latin typeface="Segoe UI Light"/>
                <a:ea typeface="+mn-ea"/>
                <a:cs typeface="+mn-cs"/>
              </a:rPr>
              <a:t>Microsoft Business Analytics and AI </a:t>
            </a:r>
            <a:r>
              <a:rPr lang="en-US" baseline="0" dirty="0"/>
              <a:t>Platform</a:t>
            </a:r>
          </a:p>
          <a:p>
            <a:pPr marL="445862" lvl="1" indent="-228600">
              <a:buFont typeface="+mj-lt"/>
              <a:buAutoNum type="arabicPeriod"/>
            </a:pPr>
            <a:r>
              <a:rPr lang="en-US" dirty="0"/>
              <a:t>Understand DevOps for Data Science Projects</a:t>
            </a:r>
            <a:endParaRPr lang="en-US" baseline="0" dirty="0"/>
          </a:p>
          <a:p>
            <a:pPr marL="445862" lvl="1" indent="-228600">
              <a:buFont typeface="+mj-lt"/>
              <a:buAutoNum type="arabicPeriod"/>
            </a:pPr>
            <a:r>
              <a:rPr lang="en-US" baseline="0" dirty="0"/>
              <a:t>Set up and Configure your Development Environments</a:t>
            </a:r>
          </a:p>
          <a:p>
            <a:pPr marL="217262" lvl="1" indent="0">
              <a:buFont typeface="+mj-lt"/>
              <a:buNone/>
            </a:pPr>
            <a:endParaRPr lang="en-US" baseline="0" dirty="0"/>
          </a:p>
          <a:p>
            <a:pPr marL="217262" lvl="1" indent="0">
              <a:buFont typeface="+mj-lt"/>
              <a:buNone/>
            </a:pPr>
            <a:r>
              <a:rPr lang="en-US" baseline="0" dirty="0"/>
              <a:t>We’ll be using this scenario to build out our solution: https://gallery.cortanaintelligence.com/Solution/Anomaly-Detection-in-Real-time-Data-Streams</a:t>
            </a:r>
          </a:p>
          <a:p>
            <a:endParaRPr lang="en-US" sz="12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478688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r>
              <a:rPr lang="en-US" dirty="0"/>
              <a:t>There’s a lot</a:t>
            </a:r>
            <a:r>
              <a:rPr lang="en-US" baseline="0" dirty="0"/>
              <a:t> of information here. You’ll get hands-on experience in class, with a chance to ask an instructor any questions you might have. However, this forms only a small part of learning so many technologies and processes. </a:t>
            </a:r>
          </a:p>
          <a:p>
            <a:endParaRPr lang="en-US" baseline="0" dirty="0"/>
          </a:p>
          <a:p>
            <a:r>
              <a:rPr lang="en-US" baseline="0" dirty="0"/>
              <a:t>The next largest section of your learning is to read each and every reference in the student handouts. Many point to books, websites and entire courses you can take in each topic. You won’t be expected to learn all of them at once – it’s more common to pull out the sections you need when you do a project, and learn about that technology before you implement it. </a:t>
            </a:r>
          </a:p>
          <a:p>
            <a:endParaRPr lang="en-US" baseline="0" dirty="0"/>
          </a:p>
          <a:p>
            <a:r>
              <a:rPr lang="en-US" baseline="0" dirty="0"/>
              <a:t>You’ll learn the most by actually creating and implementing solutions for your customers. You will do a quick design during this course, but that is a small sample of working with the technologies in a hands-on fashion. The good news is that you’ll find everything you need to be successful in this course and these materials. </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122572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The official documentation for </a:t>
            </a:r>
            <a:r>
              <a:rPr kumimoji="0" lang="en-US" sz="1400" b="0" i="0" u="none" strike="noStrike" kern="1200" cap="none" spc="0" normalizeH="0" baseline="0" noProof="0" dirty="0">
                <a:ln>
                  <a:noFill/>
                </a:ln>
                <a:solidFill>
                  <a:srgbClr val="00B050"/>
                </a:solidFill>
                <a:effectLst/>
                <a:uLnTx/>
                <a:uFillTx/>
                <a:latin typeface="Segoe UI Light"/>
                <a:ea typeface="+mn-ea"/>
                <a:cs typeface="+mn-cs"/>
              </a:rPr>
              <a:t>Microsoft Business Analytics and AI</a:t>
            </a:r>
            <a:r>
              <a:rPr lang="en-US" dirty="0"/>
              <a:t>: https://www.microsoft.com/en-us/server-cloud/cortana-intelligence-suite/</a:t>
            </a:r>
          </a:p>
          <a:p>
            <a:pPr marL="228600" indent="-228600">
              <a:buFont typeface="+mj-lt"/>
              <a:buAutoNum type="arabicPeriod"/>
            </a:pPr>
            <a:r>
              <a:rPr lang="en-US" dirty="0"/>
              <a:t>The Advanced Analytics Learning Portal: http://learnanalytics.microsoft.com/</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749364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What you can do with </a:t>
            </a:r>
            <a:r>
              <a:rPr kumimoji="0" lang="en-US" sz="1400" b="0" i="0" u="none" strike="noStrike" kern="1200" cap="none" spc="0" normalizeH="0" baseline="0" noProof="0" dirty="0">
                <a:ln>
                  <a:noFill/>
                </a:ln>
                <a:solidFill>
                  <a:srgbClr val="00B050"/>
                </a:solidFill>
                <a:effectLst/>
                <a:uLnTx/>
                <a:uFillTx/>
                <a:latin typeface="Segoe UI Light"/>
                <a:ea typeface="+mn-ea"/>
                <a:cs typeface="+mn-cs"/>
              </a:rPr>
              <a:t>Microsoft Business Analytics and AI</a:t>
            </a:r>
            <a:r>
              <a:rPr lang="en-US" dirty="0"/>
              <a:t>: https://www.microsoft.com/en-us/server-cloud/cortana-intelligence-suite/why-cortana-intelligence.aspx</a:t>
            </a:r>
          </a:p>
          <a:p>
            <a:pPr marL="228600" indent="-228600">
              <a:buFont typeface="+mj-lt"/>
              <a:buAutoNum type="arabicPeriod"/>
            </a:pPr>
            <a:r>
              <a:rPr lang="en-US" dirty="0"/>
              <a:t>More about the process: https://channel9.msdn.com/Blogs/Seth-Juarez/Understanding-Data-Science-for-building-Predictive-Analytics-Solutions-by-Francesca-Lazzeri</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28910670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0295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409402"/>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60247520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512033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170015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pPr defTabSz="932563"/>
            <a:fld id="{6974C60E-8F8C-41D8-9BFF-6DF338C2FC78}" type="slidenum">
              <a:rPr lang="en-US" smtClean="0">
                <a:solidFill>
                  <a:srgbClr val="505050">
                    <a:tint val="75000"/>
                  </a:srgbClr>
                </a:solidFill>
              </a:rPr>
              <a:pPr defTabSz="932563"/>
              <a:t>‹#›</a:t>
            </a:fld>
            <a:endParaRPr lang="en-US" dirty="0">
              <a:solidFill>
                <a:srgbClr val="505050">
                  <a:tint val="75000"/>
                </a:srgbClr>
              </a:solidFill>
            </a:endParaRPr>
          </a:p>
        </p:txBody>
      </p:sp>
    </p:spTree>
    <p:extLst>
      <p:ext uri="{BB962C8B-B14F-4D97-AF65-F5344CB8AC3E}">
        <p14:creationId xmlns:p14="http://schemas.microsoft.com/office/powerpoint/2010/main" val="124470439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3448396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762655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0551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545398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816583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45834809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567704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802342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5" Type="http://schemas.openxmlformats.org/officeDocument/2006/relationships/image" Target="../media/image5.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image" Target="../media/image5.png"/><Relationship Id="rId5" Type="http://schemas.openxmlformats.org/officeDocument/2006/relationships/theme" Target="../theme/theme3.xml"/><Relationship Id="rId4" Type="http://schemas.openxmlformats.org/officeDocument/2006/relationships/slideLayout" Target="../slideLayouts/slideLayout11.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5" Type="http://schemas.openxmlformats.org/officeDocument/2006/relationships/image" Target="../media/image5.png"/><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188" name="think-cell Slide" r:id="rId8" imgW="383" imgH="384" progId="TCLayout.ActiveDocument.1">
                  <p:embed/>
                </p:oleObj>
              </mc:Choice>
              <mc:Fallback>
                <p:oleObj name="think-cell Slide" r:id="rId8" imgW="383" imgH="384" progId="TCLayout.ActiveDocument.1">
                  <p:embed/>
                  <p:pic>
                    <p:nvPicPr>
                      <p:cNvPr id="3" name="Object 2" hidden="1"/>
                      <p:cNvPicPr/>
                      <p:nvPr/>
                    </p:nvPicPr>
                    <p:blipFill>
                      <a:blip r:embed="rId9"/>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889079982"/>
      </p:ext>
    </p:extLst>
  </p:cSld>
  <p:clrMap bg1="lt1" tx1="dk1" bg2="lt2" tx2="dk2" accent1="accent1" accent2="accent2" accent3="accent3" accent4="accent4" accent5="accent5" accent6="accent6" hlink="hlink" folHlink="folHlink"/>
  <p:sldLayoutIdLst>
    <p:sldLayoutId id="2147484529" r:id="rId1"/>
    <p:sldLayoutId id="2147484535" r:id="rId2"/>
    <p:sldLayoutId id="2147484538" r:id="rId3"/>
    <p:sldLayoutId id="2147484540" r:id="rId4"/>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045143060"/>
      </p:ext>
    </p:extLst>
  </p:cSld>
  <p:clrMap bg1="lt1" tx1="dk1" bg2="lt2" tx2="dk2" accent1="accent1" accent2="accent2" accent3="accent3" accent4="accent4" accent5="accent5" accent6="accent6" hlink="hlink" folHlink="folHlink"/>
  <p:sldLayoutIdLst>
    <p:sldLayoutId id="2147484547" r:id="rId1"/>
    <p:sldLayoutId id="2147484548" r:id="rId2"/>
    <p:sldLayoutId id="2147484551"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38227114"/>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7" r:id="rId3"/>
    <p:sldLayoutId id="2147484558" r:id="rId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5"/>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016563508"/>
      </p:ext>
    </p:extLst>
  </p:cSld>
  <p:clrMap bg1="lt1" tx1="dk1" bg2="lt2" tx2="dk2" accent1="accent1" accent2="accent2" accent3="accent3" accent4="accent4" accent5="accent5" accent6="accent6" hlink="hlink" folHlink="folHlink"/>
  <p:sldLayoutIdLst>
    <p:sldLayoutId id="2147484561" r:id="rId1"/>
    <p:sldLayoutId id="2147484562" r:id="rId2"/>
    <p:sldLayoutId id="2147484565"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10.emf"/></Relationships>
</file>

<file path=ppt/slides/_rels/slide1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3.xml"/><Relationship Id="rId1" Type="http://schemas.openxmlformats.org/officeDocument/2006/relationships/slideLayout" Target="../slideLayouts/slideLayout1.xml"/><Relationship Id="rId4" Type="http://schemas.openxmlformats.org/officeDocument/2006/relationships/image" Target="../media/image18.emf"/></Relationships>
</file>

<file path=ppt/slides/_rels/slide1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5.xml"/><Relationship Id="rId1" Type="http://schemas.openxmlformats.org/officeDocument/2006/relationships/slideLayout" Target="../slideLayouts/slideLayout10.xml"/><Relationship Id="rId5" Type="http://schemas.openxmlformats.org/officeDocument/2006/relationships/image" Target="../media/image14.png"/><Relationship Id="rId4" Type="http://schemas.openxmlformats.org/officeDocument/2006/relationships/image" Target="../media/image13.png"/></Relationships>
</file>

<file path=ppt/slides/_rels/slide16.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6.xml"/><Relationship Id="rId1" Type="http://schemas.openxmlformats.org/officeDocument/2006/relationships/slideLayout" Target="../slideLayouts/slideLayout8.xml"/><Relationship Id="rId4" Type="http://schemas.openxmlformats.org/officeDocument/2006/relationships/image" Target="../media/image18.em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8.xml"/><Relationship Id="rId1" Type="http://schemas.openxmlformats.org/officeDocument/2006/relationships/slideLayout" Target="../slideLayouts/slideLayout12.xml"/><Relationship Id="rId4" Type="http://schemas.openxmlformats.org/officeDocument/2006/relationships/image" Target="../media/image18.emf"/></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notesSlide" Target="../notesSlides/notesSlide2.xml"/><Relationship Id="rId9" Type="http://schemas.openxmlformats.org/officeDocument/2006/relationships/image" Target="../media/image10.emf"/></Relationships>
</file>

<file path=ppt/slides/_rels/slide20.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image" Target="../media/image22.wmf"/><Relationship Id="rId7" Type="http://schemas.openxmlformats.org/officeDocument/2006/relationships/image" Target="../media/image26.emf"/><Relationship Id="rId2" Type="http://schemas.openxmlformats.org/officeDocument/2006/relationships/notesSlide" Target="../notesSlides/notesSlide20.xml"/><Relationship Id="rId1" Type="http://schemas.openxmlformats.org/officeDocument/2006/relationships/slideLayout" Target="../slideLayouts/slideLayout12.xml"/><Relationship Id="rId6" Type="http://schemas.openxmlformats.org/officeDocument/2006/relationships/image" Target="../media/image25.emf"/><Relationship Id="rId5" Type="http://schemas.openxmlformats.org/officeDocument/2006/relationships/image" Target="../media/image24.emf"/><Relationship Id="rId4" Type="http://schemas.openxmlformats.org/officeDocument/2006/relationships/image" Target="../media/image23.emf"/><Relationship Id="rId9"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1.xml"/><Relationship Id="rId1" Type="http://schemas.openxmlformats.org/officeDocument/2006/relationships/slideLayout" Target="../slideLayouts/slideLayout13.xml"/><Relationship Id="rId5" Type="http://schemas.openxmlformats.org/officeDocument/2006/relationships/image" Target="../media/image22.wmf"/><Relationship Id="rId4" Type="http://schemas.microsoft.com/office/2007/relationships/hdphoto" Target="../media/hdphoto2.wdp"/></Relationships>
</file>

<file path=ppt/slides/_rels/slide22.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3.xml"/><Relationship Id="rId1" Type="http://schemas.openxmlformats.org/officeDocument/2006/relationships/slideLayout" Target="../slideLayouts/slideLayout10.xml"/><Relationship Id="rId5" Type="http://schemas.openxmlformats.org/officeDocument/2006/relationships/image" Target="../media/image14.png"/><Relationship Id="rId4" Type="http://schemas.openxmlformats.org/officeDocument/2006/relationships/image" Target="../media/image13.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1.tiff"/><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1.tiff"/><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image" Target="../media/image14.pn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18.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3215"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0" y="4096004"/>
            <a:ext cx="6788469" cy="2569136"/>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400" b="1" i="0" u="none" strike="noStrike" kern="0" cap="none" spc="0" normalizeH="0" baseline="0" noProof="0" dirty="0">
                <a:ln>
                  <a:noFill/>
                </a:ln>
                <a:solidFill>
                  <a:srgbClr val="0072C6"/>
                </a:solidFill>
                <a:effectLst/>
                <a:uLnTx/>
                <a:uFillTx/>
                <a:latin typeface="Segoe UI Light"/>
                <a:ea typeface="+mn-ea"/>
                <a:cs typeface="+mn-cs"/>
              </a:rPr>
              <a:t>Microsoft Business Analytics and AI </a:t>
            </a:r>
          </a:p>
          <a:p>
            <a:pPr lvl="0" algn="ctr" defTabSz="932520">
              <a:spcBef>
                <a:spcPts val="1224"/>
              </a:spcBef>
              <a:defRPr/>
            </a:pPr>
            <a:r>
              <a:rPr lang="en-US" sz="2800" b="1" kern="0" spc="-102" dirty="0">
                <a:ln w="3175">
                  <a:noFill/>
                </a:ln>
                <a:solidFill>
                  <a:srgbClr val="0072C6"/>
                </a:solidFill>
                <a:latin typeface="Segoe UI Light"/>
              </a:rPr>
              <a:t>Building Solutions with Microsoft Business Analytics and AI – Environment Setup</a:t>
            </a: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Microsoft Machine Learning and Data Science Team</a:t>
            </a: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ea typeface="+mn-ea"/>
                <a:cs typeface="+mn-cs"/>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6042254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436475" cy="750627"/>
          </a:xfrm>
        </p:spPr>
        <p:txBody>
          <a:bodyPr vert="horz" wrap="square" lIns="146304" tIns="91440" rIns="146304" bIns="91440" rtlCol="0" anchor="t">
            <a:noAutofit/>
          </a:bodyPr>
          <a:lstStyle/>
          <a:p>
            <a:pPr defTabSz="932742"/>
            <a:r>
              <a:rPr lang="en-US" sz="4800" spc="-102" dirty="0">
                <a:ln w="3175">
                  <a:noFill/>
                </a:ln>
                <a:solidFill>
                  <a:schemeClr val="tx1"/>
                </a:solidFill>
                <a:latin typeface="+mj-lt"/>
                <a:ea typeface="+mn-ea"/>
              </a:rPr>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2414556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1600"/>
            <a:ext cx="3533775" cy="2068513"/>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1465908970"/>
              </p:ext>
            </p:extLst>
          </p:nvPr>
        </p:nvGraphicFramePr>
        <p:xfrm>
          <a:off x="4255702" y="101600"/>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3733482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163"/>
            <a:ext cx="4289425" cy="2511425"/>
          </a:xfrm>
        </p:spPr>
        <p:txBody>
          <a:bodyPr vert="horz" wrap="square" lIns="146283" tIns="91428" rIns="146283" bIns="91428" numCol="1" rtlCol="0" anchor="t" anchorCtr="0" compatLnSpc="1">
            <a:prstTxWarp prst="textNoShape">
              <a:avLst/>
            </a:prstTxWarp>
            <a:noAutofit/>
          </a:bodyPr>
          <a:lstStyle/>
          <a:p>
            <a:r>
              <a:rPr lang="en-US" sz="4399" dirty="0">
                <a:solidFill>
                  <a:schemeClr val="tx1">
                    <a:lumMod val="75000"/>
                  </a:schemeClr>
                </a:solidFill>
              </a:rPr>
              <a:t>The Azure</a:t>
            </a:r>
            <a:br>
              <a:rPr lang="en-US" sz="4399" dirty="0">
                <a:solidFill>
                  <a:schemeClr val="tx1">
                    <a:lumMod val="75000"/>
                  </a:schemeClr>
                </a:solidFill>
              </a:rPr>
            </a:br>
            <a:r>
              <a:rPr lang="en-US" sz="4399" dirty="0">
                <a:solidFill>
                  <a:srgbClr val="00B050"/>
                </a:solidFill>
              </a:rPr>
              <a:t>Platform </a:t>
            </a:r>
            <a:r>
              <a:rPr lang="en-US" sz="4399" dirty="0">
                <a:solidFill>
                  <a:schemeClr val="tx1">
                    <a:lumMod val="50000"/>
                  </a:schemeClr>
                </a:solidFill>
              </a:rPr>
              <a:t>for Analytics and AI</a:t>
            </a:r>
          </a:p>
        </p:txBody>
      </p:sp>
      <p:graphicFrame>
        <p:nvGraphicFramePr>
          <p:cNvPr id="3" name="Diagram 2"/>
          <p:cNvGraphicFramePr/>
          <p:nvPr>
            <p:extLst>
              <p:ext uri="{D42A27DB-BD31-4B8C-83A1-F6EECF244321}">
                <p14:modId xmlns:p14="http://schemas.microsoft.com/office/powerpoint/2010/main" val="976436582"/>
              </p:ext>
            </p:extLst>
          </p:nvPr>
        </p:nvGraphicFramePr>
        <p:xfrm>
          <a:off x="3835023" y="112051"/>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57942816"/>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0" y="0"/>
            <a:ext cx="12436475" cy="844903"/>
          </a:xfrm>
        </p:spPr>
        <p:txBody>
          <a:bodyPr vert="horz" wrap="square" lIns="146304" tIns="91440" rIns="146304" bIns="91440" rtlCol="0" anchor="t">
            <a:noAutofit/>
          </a:bodyPr>
          <a:lstStyle/>
          <a:p>
            <a:pPr defTabSz="932742"/>
            <a:r>
              <a:rPr lang="en-US" sz="4800" spc="-102" dirty="0">
                <a:ln w="3175">
                  <a:noFill/>
                </a:ln>
                <a:solidFill>
                  <a:schemeClr val="tx1"/>
                </a:solidFill>
                <a:latin typeface="+mj-lt"/>
                <a:ea typeface="+mn-ea"/>
              </a:rPr>
              <a:t>DevOps for Data Science</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32177019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ext uri="{D42A27DB-BD31-4B8C-83A1-F6EECF244321}">
                <p14:modId xmlns:p14="http://schemas.microsoft.com/office/powerpoint/2010/main" val="487067199"/>
              </p:ext>
            </p:extLst>
          </p:nvPr>
        </p:nvGraphicFramePr>
        <p:xfrm>
          <a:off x="109180" y="1139560"/>
          <a:ext cx="12248923" cy="57183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3" name="Picture 12"/>
          <p:cNvPicPr>
            <a:picLocks noChangeAspect="1"/>
          </p:cNvPicPr>
          <p:nvPr/>
        </p:nvPicPr>
        <p:blipFill>
          <a:blip r:embed="rId8"/>
          <a:stretch>
            <a:fillRect/>
          </a:stretch>
        </p:blipFill>
        <p:spPr>
          <a:xfrm>
            <a:off x="327546" y="4946234"/>
            <a:ext cx="1802192" cy="1604691"/>
          </a:xfrm>
          <a:prstGeom prst="rect">
            <a:avLst/>
          </a:prstGeom>
        </p:spPr>
      </p:pic>
      <p:sp>
        <p:nvSpPr>
          <p:cNvPr id="3" name="Title 2"/>
          <p:cNvSpPr>
            <a:spLocks noGrp="1"/>
          </p:cNvSpPr>
          <p:nvPr>
            <p:ph type="title" idx="4294967295"/>
          </p:nvPr>
        </p:nvSpPr>
        <p:spPr>
          <a:xfrm>
            <a:off x="-1" y="0"/>
            <a:ext cx="12436475" cy="917575"/>
          </a:xfrm>
        </p:spPr>
        <p:txBody>
          <a:bodyPr vert="horz" wrap="square" lIns="146304" tIns="91440" rIns="146304" bIns="91440" rtlCol="0" anchor="t">
            <a:noAutofit/>
          </a:bodyPr>
          <a:lstStyle/>
          <a:p>
            <a:pPr defTabSz="932742"/>
            <a:r>
              <a:rPr lang="en-US" sz="4800" spc="-102" dirty="0">
                <a:ln w="3175">
                  <a:noFill/>
                </a:ln>
                <a:solidFill>
                  <a:schemeClr val="tx1"/>
                </a:solidFill>
                <a:latin typeface="+mj-lt"/>
                <a:ea typeface="+mn-ea"/>
              </a:rPr>
              <a:t>Azure DevOps for Advanced Analytics</a:t>
            </a:r>
          </a:p>
        </p:txBody>
      </p:sp>
    </p:spTree>
    <p:extLst>
      <p:ext uri="{BB962C8B-B14F-4D97-AF65-F5344CB8AC3E}">
        <p14:creationId xmlns:p14="http://schemas.microsoft.com/office/powerpoint/2010/main" val="953467200"/>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Account Activation</a:t>
            </a:r>
          </a:p>
          <a:p>
            <a:pPr marL="0" marR="0" lvl="0" indent="0" defTabSz="932293" eaLnBrk="1" fontAlgn="base" latinLnBrk="0" hangingPunct="1">
              <a:lnSpc>
                <a:spcPct val="90000"/>
              </a:lnSpc>
              <a:spcBef>
                <a:spcPct val="0"/>
              </a:spcBef>
              <a:spcAft>
                <a:spcPct val="0"/>
              </a:spcAft>
              <a:buClrTx/>
              <a:buSzTx/>
              <a:buFontTx/>
              <a:buNone/>
              <a:tabLst/>
              <a:defRPr/>
            </a:pPr>
            <a:r>
              <a:rPr lang="en-US" sz="3200" kern="0" dirty="0">
                <a:solidFill>
                  <a:srgbClr val="FFFF00"/>
                </a:solidFill>
                <a:ea typeface="Segoe UI" pitchFamily="34" charset="0"/>
                <a:cs typeface="Segoe UI" pitchFamily="34" charset="0"/>
              </a:rPr>
              <a:t>Resource Groups</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Data Science Virtual</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Machine (DSVM) Setup</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12222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1"/>
            <a:ext cx="12436475" cy="832513"/>
          </a:xfrm>
        </p:spPr>
        <p:txBody>
          <a:bodyPr vert="horz" wrap="square" lIns="146304" tIns="91440" rIns="146304" bIns="91440" rtlCol="0" anchor="t">
            <a:noAutofit/>
          </a:bodyPr>
          <a:lstStyle/>
          <a:p>
            <a:r>
              <a:rPr lang="en-US" dirty="0">
                <a:solidFill>
                  <a:schemeClr val="tx1"/>
                </a:solidFill>
              </a:rPr>
              <a:t>Setting up Your Development Environment</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408862465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12436475" cy="917575"/>
          </a:xfrm>
        </p:spPr>
        <p:txBody>
          <a:bodyPr vert="horz" wrap="square" lIns="146304" tIns="91440" rIns="146304" bIns="91440" rtlCol="0" anchor="t">
            <a:noAutofit/>
          </a:bodyPr>
          <a:lstStyle/>
          <a:p>
            <a:r>
              <a:rPr lang="en-US" dirty="0">
                <a:solidFill>
                  <a:schemeClr val="tx1"/>
                </a:solidFill>
              </a:rPr>
              <a:t>Primary Development Tools:</a:t>
            </a:r>
          </a:p>
        </p:txBody>
      </p:sp>
      <p:sp>
        <p:nvSpPr>
          <p:cNvPr id="3" name="Rectangle 2"/>
          <p:cNvSpPr/>
          <p:nvPr/>
        </p:nvSpPr>
        <p:spPr>
          <a:xfrm>
            <a:off x="1072444" y="1207895"/>
            <a:ext cx="10600248" cy="4832092"/>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The Azure Portal</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Azure SDK</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Azure PowerShell and ARM Template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Azure Data Catalog</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Azure ML Interfac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Visual Studio (and RTV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Storage Explorer</a:t>
            </a:r>
          </a:p>
        </p:txBody>
      </p:sp>
    </p:spTree>
    <p:extLst>
      <p:ext uri="{BB962C8B-B14F-4D97-AF65-F5344CB8AC3E}">
        <p14:creationId xmlns:p14="http://schemas.microsoft.com/office/powerpoint/2010/main" val="239009464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0"/>
            <a:ext cx="12436475" cy="890059"/>
          </a:xfrm>
        </p:spPr>
        <p:txBody>
          <a:bodyPr vert="horz" wrap="square" lIns="146304" tIns="91440" rIns="146304" bIns="91440" rtlCol="0" anchor="t">
            <a:noAutofit/>
          </a:bodyPr>
          <a:lstStyle/>
          <a:p>
            <a:r>
              <a:rPr lang="en-US" dirty="0">
                <a:solidFill>
                  <a:schemeClr val="tx1"/>
                </a:solidFill>
              </a:rPr>
              <a:t>Azure Storage for Advanced Analytics</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424137491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0"/>
            <a:ext cx="12436475" cy="788459"/>
          </a:xfrm>
        </p:spPr>
        <p:txBody>
          <a:bodyPr vert="horz" wrap="square" lIns="146304" tIns="91440" rIns="146304" bIns="91440" rtlCol="0" anchor="t">
            <a:noAutofit/>
          </a:bodyPr>
          <a:lstStyle/>
          <a:p>
            <a:r>
              <a:rPr lang="en-US" dirty="0">
                <a:solidFill>
                  <a:schemeClr val="tx1"/>
                </a:solidFill>
              </a:rPr>
              <a:t>Storage Architecture</a:t>
            </a:r>
          </a:p>
        </p:txBody>
      </p:sp>
      <p:pic>
        <p:nvPicPr>
          <p:cNvPr id="2" name="Picture 1"/>
          <p:cNvPicPr>
            <a:picLocks noChangeAspect="1"/>
          </p:cNvPicPr>
          <p:nvPr/>
        </p:nvPicPr>
        <p:blipFill>
          <a:blip r:embed="rId3"/>
          <a:stretch>
            <a:fillRect/>
          </a:stretch>
        </p:blipFill>
        <p:spPr>
          <a:xfrm>
            <a:off x="2630310" y="1307885"/>
            <a:ext cx="8636001" cy="5213334"/>
          </a:xfrm>
          <a:prstGeom prst="rect">
            <a:avLst/>
          </a:prstGeom>
          <a:ln>
            <a:noFill/>
          </a:ln>
          <a:effectLst>
            <a:outerShdw blurRad="292100" dist="139700" dir="2700000" algn="tl" rotWithShape="0">
              <a:srgbClr val="333333">
                <a:alpha val="65000"/>
              </a:srgbClr>
            </a:outerShdw>
          </a:effectLst>
        </p:spPr>
      </p:pic>
      <p:sp>
        <p:nvSpPr>
          <p:cNvPr id="15" name="Left Brace 14"/>
          <p:cNvSpPr/>
          <p:nvPr/>
        </p:nvSpPr>
        <p:spPr>
          <a:xfrm>
            <a:off x="1490133" y="1307885"/>
            <a:ext cx="835378" cy="5308370"/>
          </a:xfrm>
          <a:prstGeom prst="leftBrace">
            <a:avLst/>
          </a:prstGeom>
          <a:ln>
            <a:headEnd type="none"/>
            <a:tailEnd type="none"/>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dirty="0"/>
          </a:p>
        </p:txBody>
      </p:sp>
      <p:sp>
        <p:nvSpPr>
          <p:cNvPr id="16" name="TextBox 15"/>
          <p:cNvSpPr txBox="1"/>
          <p:nvPr/>
        </p:nvSpPr>
        <p:spPr>
          <a:xfrm rot="16200000">
            <a:off x="-1542541" y="3502445"/>
            <a:ext cx="5132688" cy="904863"/>
          </a:xfrm>
          <a:prstGeom prst="rect">
            <a:avLst/>
          </a:prstGeom>
          <a:noFill/>
        </p:spPr>
        <p:txBody>
          <a:bodyPr wrap="square" lIns="182880" tIns="146304" rIns="182880" bIns="146304" rtlCol="0">
            <a:spAutoFit/>
          </a:bodyPr>
          <a:lstStyle/>
          <a:p>
            <a:pPr algn="ctr">
              <a:lnSpc>
                <a:spcPct val="90000"/>
              </a:lnSpc>
              <a:spcAft>
                <a:spcPts val="600"/>
              </a:spcAft>
            </a:pPr>
            <a:r>
              <a:rPr lang="en-US" sz="4400" dirty="0">
                <a:gradFill>
                  <a:gsLst>
                    <a:gs pos="2917">
                      <a:schemeClr val="tx1"/>
                    </a:gs>
                    <a:gs pos="30000">
                      <a:schemeClr val="tx1"/>
                    </a:gs>
                  </a:gsLst>
                  <a:lin ang="5400000" scaled="0"/>
                </a:gradFill>
              </a:rPr>
              <a:t>Azure Account</a:t>
            </a:r>
          </a:p>
        </p:txBody>
      </p:sp>
    </p:spTree>
    <p:extLst>
      <p:ext uri="{BB962C8B-B14F-4D97-AF65-F5344CB8AC3E}">
        <p14:creationId xmlns:p14="http://schemas.microsoft.com/office/powerpoint/2010/main" val="308255092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4098"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0" y="4096004"/>
            <a:ext cx="6788469" cy="2569136"/>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400" b="1" i="0" u="none" strike="noStrike" kern="0" cap="none" spc="0" normalizeH="0" baseline="0" noProof="0" dirty="0">
                <a:ln>
                  <a:noFill/>
                </a:ln>
                <a:solidFill>
                  <a:srgbClr val="0072C6"/>
                </a:solidFill>
                <a:effectLst/>
                <a:uLnTx/>
                <a:uFillTx/>
                <a:latin typeface="Segoe UI Light"/>
                <a:ea typeface="+mn-ea"/>
                <a:cs typeface="+mn-cs"/>
              </a:rPr>
              <a:t>Microsoft Business Analytics and AI </a:t>
            </a:r>
          </a:p>
          <a:p>
            <a:pPr lvl="0" algn="ctr" defTabSz="932520">
              <a:spcBef>
                <a:spcPts val="1224"/>
              </a:spcBef>
              <a:defRPr/>
            </a:pPr>
            <a:r>
              <a:rPr lang="en-US" sz="2800" b="1" kern="0" spc="-102" dirty="0">
                <a:ln w="3175">
                  <a:noFill/>
                </a:ln>
                <a:solidFill>
                  <a:srgbClr val="0072C6"/>
                </a:solidFill>
                <a:latin typeface="Segoe UI Light"/>
              </a:rPr>
              <a:t>Building Solutions – Environment Setup</a:t>
            </a: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Microsoft Machine Learning and Data Science Team</a:t>
            </a:r>
          </a:p>
          <a:p>
            <a:pPr lvl="0" algn="ctr" defTabSz="914400">
              <a:lnSpc>
                <a:spcPct val="90000"/>
              </a:lnSpc>
              <a:buSzPct val="90000"/>
              <a:defRPr/>
            </a:pPr>
            <a:r>
              <a:rPr lang="en-US" sz="2400" kern="0" dirty="0">
                <a:solidFill>
                  <a:srgbClr val="00BCF2"/>
                </a:solidFill>
                <a:latin typeface="Segoe UI Light"/>
              </a:rPr>
              <a:t>aka.ms/</a:t>
            </a:r>
            <a:r>
              <a:rPr lang="en-US" sz="2400" kern="0" dirty="0" err="1">
                <a:solidFill>
                  <a:srgbClr val="00BCF2"/>
                </a:solidFill>
                <a:latin typeface="Segoe UI Light"/>
              </a:rPr>
              <a:t>BusinessAnalyticsAndAI</a:t>
            </a:r>
            <a:endParaRPr lang="en-US" sz="2400" kern="0" dirty="0">
              <a:solidFill>
                <a:srgbClr val="00BCF2"/>
              </a:solidFill>
              <a:latin typeface="Segoe UI Light"/>
            </a:endParaRP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307048608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19014"/>
            <a:ext cx="12436475" cy="917575"/>
          </a:xfrm>
        </p:spPr>
        <p:txBody>
          <a:bodyPr vert="horz" wrap="square" lIns="146304" tIns="91440" rIns="146304" bIns="91440" rtlCol="0" anchor="t">
            <a:noAutofit/>
          </a:bodyPr>
          <a:lstStyle/>
          <a:p>
            <a:r>
              <a:rPr lang="en-US" dirty="0">
                <a:solidFill>
                  <a:schemeClr val="tx1"/>
                </a:solidFill>
              </a:rPr>
              <a:t>Storage Scenarios</a:t>
            </a:r>
          </a:p>
        </p:txBody>
      </p:sp>
      <p:grpSp>
        <p:nvGrpSpPr>
          <p:cNvPr id="18" name="Group 17"/>
          <p:cNvGrpSpPr/>
          <p:nvPr/>
        </p:nvGrpSpPr>
        <p:grpSpPr>
          <a:xfrm>
            <a:off x="868717" y="2748706"/>
            <a:ext cx="2058225" cy="2504643"/>
            <a:chOff x="4660" y="2391333"/>
            <a:chExt cx="2704271" cy="2840662"/>
          </a:xfrm>
        </p:grpSpPr>
        <p:pic>
          <p:nvPicPr>
            <p:cNvPr id="77" name="Picture 40"/>
            <p:cNvPicPr>
              <a:picLocks noChangeAspect="1" noChangeArrowheads="1"/>
            </p:cNvPicPr>
            <p:nvPr/>
          </p:nvPicPr>
          <p:blipFill rotWithShape="1">
            <a:blip r:embed="rId3"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4660" y="2391333"/>
              <a:ext cx="1842023" cy="13025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3"/>
            <p:cNvPicPr>
              <a:picLocks noChangeAspect="1"/>
            </p:cNvPicPr>
            <p:nvPr/>
          </p:nvPicPr>
          <p:blipFill>
            <a:blip r:embed="rId4"/>
            <a:stretch>
              <a:fillRect/>
            </a:stretch>
          </p:blipFill>
          <p:spPr>
            <a:xfrm>
              <a:off x="469349" y="3064018"/>
              <a:ext cx="1742777" cy="1258670"/>
            </a:xfrm>
            <a:prstGeom prst="rect">
              <a:avLst/>
            </a:prstGeom>
          </p:spPr>
        </p:pic>
        <p:pic>
          <p:nvPicPr>
            <p:cNvPr id="5" name="Picture 4"/>
            <p:cNvPicPr>
              <a:picLocks noChangeAspect="1"/>
            </p:cNvPicPr>
            <p:nvPr/>
          </p:nvPicPr>
          <p:blipFill>
            <a:blip r:embed="rId5"/>
            <a:stretch>
              <a:fillRect/>
            </a:stretch>
          </p:blipFill>
          <p:spPr>
            <a:xfrm>
              <a:off x="885234" y="3180215"/>
              <a:ext cx="1788889" cy="1613195"/>
            </a:xfrm>
            <a:prstGeom prst="rect">
              <a:avLst/>
            </a:prstGeom>
          </p:spPr>
        </p:pic>
        <p:pic>
          <p:nvPicPr>
            <p:cNvPr id="6" name="Picture 5"/>
            <p:cNvPicPr>
              <a:picLocks noChangeAspect="1"/>
            </p:cNvPicPr>
            <p:nvPr/>
          </p:nvPicPr>
          <p:blipFill>
            <a:blip r:embed="rId6"/>
            <a:stretch>
              <a:fillRect/>
            </a:stretch>
          </p:blipFill>
          <p:spPr>
            <a:xfrm>
              <a:off x="1709091" y="3956339"/>
              <a:ext cx="999840" cy="1275656"/>
            </a:xfrm>
            <a:prstGeom prst="rect">
              <a:avLst/>
            </a:prstGeom>
          </p:spPr>
        </p:pic>
      </p:grpSp>
      <p:sp>
        <p:nvSpPr>
          <p:cNvPr id="7" name="Rectangle 6"/>
          <p:cNvSpPr/>
          <p:nvPr/>
        </p:nvSpPr>
        <p:spPr>
          <a:xfrm>
            <a:off x="1449817" y="5183259"/>
            <a:ext cx="1453766" cy="798558"/>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4488" b="1" i="0" u="none" strike="noStrike" kern="0" cap="none" spc="0" normalizeH="0" baseline="0" noProof="0" dirty="0">
                <a:ln>
                  <a:noFill/>
                </a:ln>
                <a:solidFill>
                  <a:srgbClr val="00BCF2"/>
                </a:solidFill>
                <a:effectLst/>
                <a:uLnTx/>
                <a:uFillTx/>
              </a:rPr>
              <a:t>Blob</a:t>
            </a:r>
            <a:endParaRPr kumimoji="0" lang="en-US" sz="4488" b="0" i="0" u="none" strike="noStrike" kern="0" cap="none" spc="0" normalizeH="0" baseline="0" noProof="0" dirty="0">
              <a:ln>
                <a:noFill/>
              </a:ln>
              <a:solidFill>
                <a:sysClr val="windowText" lastClr="000000"/>
              </a:solidFill>
              <a:effectLst/>
              <a:uLnTx/>
              <a:uFillTx/>
            </a:endParaRPr>
          </a:p>
        </p:txBody>
      </p:sp>
      <p:sp>
        <p:nvSpPr>
          <p:cNvPr id="8" name="Rectangle 7"/>
          <p:cNvSpPr/>
          <p:nvPr/>
        </p:nvSpPr>
        <p:spPr>
          <a:xfrm>
            <a:off x="4194132" y="5146885"/>
            <a:ext cx="1695734" cy="798558"/>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4488" b="1" i="0" u="none" strike="noStrike" kern="0" cap="none" spc="0" normalizeH="0" baseline="0" noProof="0" dirty="0">
                <a:ln>
                  <a:noFill/>
                </a:ln>
                <a:solidFill>
                  <a:srgbClr val="00BCF2"/>
                </a:solidFill>
                <a:effectLst/>
                <a:uLnTx/>
                <a:uFillTx/>
              </a:rPr>
              <a:t>Table</a:t>
            </a:r>
            <a:endParaRPr kumimoji="0" lang="en-US" sz="4488" b="0" i="0" u="none" strike="noStrike" kern="0" cap="none" spc="0" normalizeH="0" baseline="0" noProof="0" dirty="0">
              <a:ln>
                <a:noFill/>
              </a:ln>
              <a:solidFill>
                <a:sysClr val="windowText" lastClr="000000"/>
              </a:solidFill>
              <a:effectLst/>
              <a:uLnTx/>
              <a:uFillTx/>
            </a:endParaRPr>
          </a:p>
        </p:txBody>
      </p:sp>
      <p:sp>
        <p:nvSpPr>
          <p:cNvPr id="9" name="Rectangle 8"/>
          <p:cNvSpPr/>
          <p:nvPr/>
        </p:nvSpPr>
        <p:spPr>
          <a:xfrm>
            <a:off x="7247064" y="5146885"/>
            <a:ext cx="1976939" cy="798558"/>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4488" b="1" i="0" u="none" strike="noStrike" kern="0" cap="none" spc="0" normalizeH="0" baseline="0" noProof="0" dirty="0">
                <a:ln>
                  <a:noFill/>
                </a:ln>
                <a:solidFill>
                  <a:srgbClr val="00BCF2"/>
                </a:solidFill>
                <a:effectLst/>
                <a:uLnTx/>
                <a:uFillTx/>
              </a:rPr>
              <a:t>Queue</a:t>
            </a:r>
            <a:endParaRPr kumimoji="0" lang="en-US" sz="4488" b="0" i="0" u="none" strike="noStrike" kern="0" cap="none" spc="0" normalizeH="0" baseline="0" noProof="0" dirty="0">
              <a:ln>
                <a:noFill/>
              </a:ln>
              <a:solidFill>
                <a:sysClr val="windowText" lastClr="000000"/>
              </a:solidFill>
              <a:effectLst/>
              <a:uLnTx/>
              <a:uFillTx/>
            </a:endParaRPr>
          </a:p>
        </p:txBody>
      </p:sp>
      <p:sp>
        <p:nvSpPr>
          <p:cNvPr id="10" name="Rectangle 9"/>
          <p:cNvSpPr/>
          <p:nvPr/>
        </p:nvSpPr>
        <p:spPr>
          <a:xfrm>
            <a:off x="10631193" y="5183259"/>
            <a:ext cx="1144768" cy="798558"/>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4488" b="1" i="0" u="none" strike="noStrike" kern="0" cap="none" spc="0" normalizeH="0" baseline="0" noProof="0" dirty="0">
                <a:ln>
                  <a:noFill/>
                </a:ln>
                <a:solidFill>
                  <a:srgbClr val="00BCF2"/>
                </a:solidFill>
                <a:effectLst/>
                <a:uLnTx/>
                <a:uFillTx/>
              </a:rPr>
              <a:t>File</a:t>
            </a:r>
            <a:endParaRPr kumimoji="0" lang="en-US" sz="4488" b="0" i="0" u="none" strike="noStrike" kern="0" cap="none" spc="0" normalizeH="0" baseline="0" noProof="0" dirty="0">
              <a:ln>
                <a:noFill/>
              </a:ln>
              <a:solidFill>
                <a:sysClr val="windowText" lastClr="000000"/>
              </a:solidFill>
              <a:effectLst/>
              <a:uLnTx/>
              <a:uFillTx/>
            </a:endParaRPr>
          </a:p>
        </p:txBody>
      </p:sp>
      <p:sp>
        <p:nvSpPr>
          <p:cNvPr id="11" name="TextBox 10"/>
          <p:cNvSpPr txBox="1"/>
          <p:nvPr/>
        </p:nvSpPr>
        <p:spPr>
          <a:xfrm>
            <a:off x="735653" y="1425341"/>
            <a:ext cx="2358450" cy="1246721"/>
          </a:xfrm>
          <a:prstGeom prst="rect">
            <a:avLst/>
          </a:prstGeom>
          <a:noFill/>
        </p:spPr>
        <p:txBody>
          <a:bodyPr wrap="squar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Unstructured data such as media files, logs, binary data, backups</a:t>
            </a:r>
          </a:p>
        </p:txBody>
      </p:sp>
      <p:sp>
        <p:nvSpPr>
          <p:cNvPr id="12" name="TextBox 11"/>
          <p:cNvSpPr txBox="1"/>
          <p:nvPr/>
        </p:nvSpPr>
        <p:spPr>
          <a:xfrm>
            <a:off x="3471702" y="1425341"/>
            <a:ext cx="3076631" cy="958583"/>
          </a:xfrm>
          <a:prstGeom prst="rect">
            <a:avLst/>
          </a:prstGeom>
          <a:noFill/>
        </p:spPr>
        <p:txBody>
          <a:bodyPr wrap="squar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Metadata (e.g. user info), in key-value format, fast and easy to query</a:t>
            </a:r>
          </a:p>
        </p:txBody>
      </p:sp>
      <p:grpSp>
        <p:nvGrpSpPr>
          <p:cNvPr id="16" name="Group 15"/>
          <p:cNvGrpSpPr/>
          <p:nvPr/>
        </p:nvGrpSpPr>
        <p:grpSpPr>
          <a:xfrm>
            <a:off x="3882167" y="3445183"/>
            <a:ext cx="2558292" cy="1602854"/>
            <a:chOff x="3567849" y="2720894"/>
            <a:chExt cx="2558292" cy="1602854"/>
          </a:xfrm>
        </p:grpSpPr>
        <p:sp>
          <p:nvSpPr>
            <p:cNvPr id="13" name="TextBox 12"/>
            <p:cNvSpPr txBox="1"/>
            <p:nvPr/>
          </p:nvSpPr>
          <p:spPr>
            <a:xfrm>
              <a:off x="3968751" y="2855496"/>
              <a:ext cx="1885383" cy="1246721"/>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name’: Sue, </a:t>
              </a:r>
            </a:p>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role’: 'admin’, </a:t>
              </a:r>
            </a:p>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status’: ‘active’, </a:t>
              </a:r>
            </a:p>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location’: ‘WA’</a:t>
              </a:r>
            </a:p>
          </p:txBody>
        </p:sp>
        <p:sp>
          <p:nvSpPr>
            <p:cNvPr id="14" name="Left Brace 13"/>
            <p:cNvSpPr/>
            <p:nvPr/>
          </p:nvSpPr>
          <p:spPr>
            <a:xfrm>
              <a:off x="3567849" y="2720894"/>
              <a:ext cx="400902" cy="1602854"/>
            </a:xfrm>
            <a:prstGeom prst="leftBrace">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17" name="Left Brace 16"/>
            <p:cNvSpPr/>
            <p:nvPr/>
          </p:nvSpPr>
          <p:spPr>
            <a:xfrm rot="10800000">
              <a:off x="5725239" y="2720894"/>
              <a:ext cx="400902" cy="1602854"/>
            </a:xfrm>
            <a:prstGeom prst="leftBrace">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grpSp>
      <p:grpSp>
        <p:nvGrpSpPr>
          <p:cNvPr id="15" name="Group 14"/>
          <p:cNvGrpSpPr/>
          <p:nvPr/>
        </p:nvGrpSpPr>
        <p:grpSpPr>
          <a:xfrm>
            <a:off x="7063058" y="3064018"/>
            <a:ext cx="2086091" cy="1955988"/>
            <a:chOff x="7044797" y="2010130"/>
            <a:chExt cx="2086091" cy="1955988"/>
          </a:xfrm>
        </p:grpSpPr>
        <p:pic>
          <p:nvPicPr>
            <p:cNvPr id="19" name="Picture 18"/>
            <p:cNvPicPr>
              <a:picLocks noChangeAspect="1"/>
            </p:cNvPicPr>
            <p:nvPr/>
          </p:nvPicPr>
          <p:blipFill>
            <a:blip r:embed="rId7"/>
            <a:stretch>
              <a:fillRect/>
            </a:stretch>
          </p:blipFill>
          <p:spPr>
            <a:xfrm>
              <a:off x="8388058" y="2010130"/>
              <a:ext cx="658934" cy="853371"/>
            </a:xfrm>
            <a:prstGeom prst="rect">
              <a:avLst/>
            </a:prstGeom>
          </p:spPr>
        </p:pic>
        <p:pic>
          <p:nvPicPr>
            <p:cNvPr id="20" name="Picture 19"/>
            <p:cNvPicPr>
              <a:picLocks noChangeAspect="1"/>
            </p:cNvPicPr>
            <p:nvPr/>
          </p:nvPicPr>
          <p:blipFill>
            <a:blip r:embed="rId8"/>
            <a:stretch>
              <a:fillRect/>
            </a:stretch>
          </p:blipFill>
          <p:spPr>
            <a:xfrm rot="1958372">
              <a:off x="8536765" y="3066272"/>
              <a:ext cx="594123" cy="777757"/>
            </a:xfrm>
            <a:prstGeom prst="rect">
              <a:avLst/>
            </a:prstGeom>
          </p:spPr>
        </p:pic>
        <p:grpSp>
          <p:nvGrpSpPr>
            <p:cNvPr id="60" name="Group 59"/>
            <p:cNvGrpSpPr>
              <a:grpSpLocks noChangeAspect="1"/>
            </p:cNvGrpSpPr>
            <p:nvPr/>
          </p:nvGrpSpPr>
          <p:grpSpPr>
            <a:xfrm>
              <a:off x="7924275" y="2799937"/>
              <a:ext cx="493864" cy="496309"/>
              <a:chOff x="7523163" y="3455988"/>
              <a:chExt cx="320675" cy="322263"/>
            </a:xfrm>
          </p:grpSpPr>
          <p:sp>
            <p:nvSpPr>
              <p:cNvPr id="25" name="Freeform 5"/>
              <p:cNvSpPr>
                <a:spLocks/>
              </p:cNvSpPr>
              <p:nvPr/>
            </p:nvSpPr>
            <p:spPr bwMode="auto">
              <a:xfrm>
                <a:off x="7523163" y="3571875"/>
                <a:ext cx="320675" cy="92075"/>
              </a:xfrm>
              <a:custGeom>
                <a:avLst/>
                <a:gdLst>
                  <a:gd name="T0" fmla="*/ 113 w 126"/>
                  <a:gd name="T1" fmla="*/ 1 h 36"/>
                  <a:gd name="T2" fmla="*/ 125 w 126"/>
                  <a:gd name="T3" fmla="*/ 8 h 36"/>
                  <a:gd name="T4" fmla="*/ 125 w 126"/>
                  <a:gd name="T5" fmla="*/ 8 h 36"/>
                  <a:gd name="T6" fmla="*/ 115 w 126"/>
                  <a:gd name="T7" fmla="*/ 19 h 36"/>
                  <a:gd name="T8" fmla="*/ 13 w 126"/>
                  <a:gd name="T9" fmla="*/ 35 h 36"/>
                  <a:gd name="T10" fmla="*/ 1 w 126"/>
                  <a:gd name="T11" fmla="*/ 28 h 36"/>
                  <a:gd name="T12" fmla="*/ 1 w 126"/>
                  <a:gd name="T13" fmla="*/ 28 h 36"/>
                  <a:gd name="T14" fmla="*/ 10 w 126"/>
                  <a:gd name="T15" fmla="*/ 18 h 36"/>
                  <a:gd name="T16" fmla="*/ 113 w 126"/>
                  <a:gd name="T17" fmla="*/ 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36">
                    <a:moveTo>
                      <a:pt x="113" y="1"/>
                    </a:moveTo>
                    <a:cubicBezTo>
                      <a:pt x="120" y="0"/>
                      <a:pt x="124" y="4"/>
                      <a:pt x="125" y="8"/>
                    </a:cubicBezTo>
                    <a:cubicBezTo>
                      <a:pt x="125" y="8"/>
                      <a:pt x="125" y="8"/>
                      <a:pt x="125" y="8"/>
                    </a:cubicBezTo>
                    <a:cubicBezTo>
                      <a:pt x="126" y="13"/>
                      <a:pt x="123" y="18"/>
                      <a:pt x="115" y="19"/>
                    </a:cubicBezTo>
                    <a:cubicBezTo>
                      <a:pt x="13" y="35"/>
                      <a:pt x="13" y="35"/>
                      <a:pt x="13" y="35"/>
                    </a:cubicBezTo>
                    <a:cubicBezTo>
                      <a:pt x="6" y="36"/>
                      <a:pt x="1" y="33"/>
                      <a:pt x="1" y="28"/>
                    </a:cubicBezTo>
                    <a:cubicBezTo>
                      <a:pt x="1" y="28"/>
                      <a:pt x="1" y="28"/>
                      <a:pt x="1" y="28"/>
                    </a:cubicBezTo>
                    <a:cubicBezTo>
                      <a:pt x="0" y="23"/>
                      <a:pt x="3" y="19"/>
                      <a:pt x="10" y="18"/>
                    </a:cubicBezTo>
                    <a:lnTo>
                      <a:pt x="113" y="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26" name="Freeform 6"/>
              <p:cNvSpPr>
                <a:spLocks/>
              </p:cNvSpPr>
              <p:nvPr/>
            </p:nvSpPr>
            <p:spPr bwMode="auto">
              <a:xfrm>
                <a:off x="7532688" y="3530600"/>
                <a:ext cx="298450" cy="176213"/>
              </a:xfrm>
              <a:custGeom>
                <a:avLst/>
                <a:gdLst>
                  <a:gd name="T0" fmla="*/ 109 w 117"/>
                  <a:gd name="T1" fmla="*/ 50 h 69"/>
                  <a:gd name="T2" fmla="*/ 115 w 117"/>
                  <a:gd name="T3" fmla="*/ 63 h 69"/>
                  <a:gd name="T4" fmla="*/ 115 w 117"/>
                  <a:gd name="T5" fmla="*/ 63 h 69"/>
                  <a:gd name="T6" fmla="*/ 101 w 117"/>
                  <a:gd name="T7" fmla="*/ 66 h 69"/>
                  <a:gd name="T8" fmla="*/ 9 w 117"/>
                  <a:gd name="T9" fmla="*/ 19 h 69"/>
                  <a:gd name="T10" fmla="*/ 3 w 117"/>
                  <a:gd name="T11" fmla="*/ 6 h 69"/>
                  <a:gd name="T12" fmla="*/ 3 w 117"/>
                  <a:gd name="T13" fmla="*/ 6 h 69"/>
                  <a:gd name="T14" fmla="*/ 17 w 117"/>
                  <a:gd name="T15" fmla="*/ 3 h 69"/>
                  <a:gd name="T16" fmla="*/ 109 w 117"/>
                  <a:gd name="T17"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69">
                    <a:moveTo>
                      <a:pt x="109" y="50"/>
                    </a:moveTo>
                    <a:cubicBezTo>
                      <a:pt x="115" y="53"/>
                      <a:pt x="117" y="59"/>
                      <a:pt x="115" y="63"/>
                    </a:cubicBezTo>
                    <a:cubicBezTo>
                      <a:pt x="115" y="63"/>
                      <a:pt x="115" y="63"/>
                      <a:pt x="115" y="63"/>
                    </a:cubicBezTo>
                    <a:cubicBezTo>
                      <a:pt x="113" y="67"/>
                      <a:pt x="108" y="69"/>
                      <a:pt x="101" y="66"/>
                    </a:cubicBezTo>
                    <a:cubicBezTo>
                      <a:pt x="9" y="19"/>
                      <a:pt x="9" y="19"/>
                      <a:pt x="9" y="19"/>
                    </a:cubicBezTo>
                    <a:cubicBezTo>
                      <a:pt x="2" y="15"/>
                      <a:pt x="0" y="10"/>
                      <a:pt x="3" y="6"/>
                    </a:cubicBezTo>
                    <a:cubicBezTo>
                      <a:pt x="3" y="6"/>
                      <a:pt x="3" y="6"/>
                      <a:pt x="3" y="6"/>
                    </a:cubicBezTo>
                    <a:cubicBezTo>
                      <a:pt x="5" y="1"/>
                      <a:pt x="10" y="0"/>
                      <a:pt x="17" y="3"/>
                    </a:cubicBezTo>
                    <a:lnTo>
                      <a:pt x="109"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27" name="Freeform 7"/>
              <p:cNvSpPr>
                <a:spLocks/>
              </p:cNvSpPr>
              <p:nvPr/>
            </p:nvSpPr>
            <p:spPr bwMode="auto">
              <a:xfrm>
                <a:off x="7594600" y="3468688"/>
                <a:ext cx="174625" cy="300038"/>
              </a:xfrm>
              <a:custGeom>
                <a:avLst/>
                <a:gdLst>
                  <a:gd name="T0" fmla="*/ 66 w 69"/>
                  <a:gd name="T1" fmla="*/ 100 h 117"/>
                  <a:gd name="T2" fmla="*/ 63 w 69"/>
                  <a:gd name="T3" fmla="*/ 114 h 117"/>
                  <a:gd name="T4" fmla="*/ 63 w 69"/>
                  <a:gd name="T5" fmla="*/ 114 h 117"/>
                  <a:gd name="T6" fmla="*/ 50 w 69"/>
                  <a:gd name="T7" fmla="*/ 108 h 117"/>
                  <a:gd name="T8" fmla="*/ 3 w 69"/>
                  <a:gd name="T9" fmla="*/ 16 h 117"/>
                  <a:gd name="T10" fmla="*/ 6 w 69"/>
                  <a:gd name="T11" fmla="*/ 2 h 117"/>
                  <a:gd name="T12" fmla="*/ 6 w 69"/>
                  <a:gd name="T13" fmla="*/ 2 h 117"/>
                  <a:gd name="T14" fmla="*/ 19 w 69"/>
                  <a:gd name="T15" fmla="*/ 8 h 117"/>
                  <a:gd name="T16" fmla="*/ 66 w 69"/>
                  <a:gd name="T17" fmla="*/ 10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17">
                    <a:moveTo>
                      <a:pt x="66" y="100"/>
                    </a:moveTo>
                    <a:cubicBezTo>
                      <a:pt x="69" y="107"/>
                      <a:pt x="68" y="112"/>
                      <a:pt x="63" y="114"/>
                    </a:cubicBezTo>
                    <a:cubicBezTo>
                      <a:pt x="63" y="114"/>
                      <a:pt x="63" y="114"/>
                      <a:pt x="63" y="114"/>
                    </a:cubicBezTo>
                    <a:cubicBezTo>
                      <a:pt x="59" y="117"/>
                      <a:pt x="54" y="115"/>
                      <a:pt x="50" y="108"/>
                    </a:cubicBezTo>
                    <a:cubicBezTo>
                      <a:pt x="3" y="16"/>
                      <a:pt x="3" y="16"/>
                      <a:pt x="3" y="16"/>
                    </a:cubicBezTo>
                    <a:cubicBezTo>
                      <a:pt x="0" y="9"/>
                      <a:pt x="2" y="4"/>
                      <a:pt x="6" y="2"/>
                    </a:cubicBezTo>
                    <a:cubicBezTo>
                      <a:pt x="6" y="2"/>
                      <a:pt x="6" y="2"/>
                      <a:pt x="6" y="2"/>
                    </a:cubicBezTo>
                    <a:cubicBezTo>
                      <a:pt x="10" y="0"/>
                      <a:pt x="16" y="2"/>
                      <a:pt x="19" y="8"/>
                    </a:cubicBezTo>
                    <a:lnTo>
                      <a:pt x="66" y="10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28" name="Freeform 8"/>
              <p:cNvSpPr>
                <a:spLocks/>
              </p:cNvSpPr>
              <p:nvPr/>
            </p:nvSpPr>
            <p:spPr bwMode="auto">
              <a:xfrm>
                <a:off x="7637463" y="3455988"/>
                <a:ext cx="92075" cy="322263"/>
              </a:xfrm>
              <a:custGeom>
                <a:avLst/>
                <a:gdLst>
                  <a:gd name="T0" fmla="*/ 18 w 36"/>
                  <a:gd name="T1" fmla="*/ 116 h 126"/>
                  <a:gd name="T2" fmla="*/ 8 w 36"/>
                  <a:gd name="T3" fmla="*/ 125 h 126"/>
                  <a:gd name="T4" fmla="*/ 8 w 36"/>
                  <a:gd name="T5" fmla="*/ 125 h 126"/>
                  <a:gd name="T6" fmla="*/ 1 w 36"/>
                  <a:gd name="T7" fmla="*/ 113 h 126"/>
                  <a:gd name="T8" fmla="*/ 17 w 36"/>
                  <a:gd name="T9" fmla="*/ 11 h 126"/>
                  <a:gd name="T10" fmla="*/ 28 w 36"/>
                  <a:gd name="T11" fmla="*/ 1 h 126"/>
                  <a:gd name="T12" fmla="*/ 28 w 36"/>
                  <a:gd name="T13" fmla="*/ 1 h 126"/>
                  <a:gd name="T14" fmla="*/ 35 w 36"/>
                  <a:gd name="T15" fmla="*/ 13 h 126"/>
                  <a:gd name="T16" fmla="*/ 18 w 36"/>
                  <a:gd name="T17" fmla="*/ 11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26">
                    <a:moveTo>
                      <a:pt x="18" y="116"/>
                    </a:moveTo>
                    <a:cubicBezTo>
                      <a:pt x="17" y="123"/>
                      <a:pt x="13" y="126"/>
                      <a:pt x="8" y="125"/>
                    </a:cubicBezTo>
                    <a:cubicBezTo>
                      <a:pt x="8" y="125"/>
                      <a:pt x="8" y="125"/>
                      <a:pt x="8" y="125"/>
                    </a:cubicBezTo>
                    <a:cubicBezTo>
                      <a:pt x="3" y="125"/>
                      <a:pt x="0" y="120"/>
                      <a:pt x="1" y="113"/>
                    </a:cubicBezTo>
                    <a:cubicBezTo>
                      <a:pt x="17" y="11"/>
                      <a:pt x="17" y="11"/>
                      <a:pt x="17" y="11"/>
                    </a:cubicBezTo>
                    <a:cubicBezTo>
                      <a:pt x="18" y="3"/>
                      <a:pt x="23" y="0"/>
                      <a:pt x="28" y="1"/>
                    </a:cubicBezTo>
                    <a:cubicBezTo>
                      <a:pt x="28" y="1"/>
                      <a:pt x="28" y="1"/>
                      <a:pt x="28" y="1"/>
                    </a:cubicBezTo>
                    <a:cubicBezTo>
                      <a:pt x="32" y="2"/>
                      <a:pt x="36" y="6"/>
                      <a:pt x="35" y="13"/>
                    </a:cubicBezTo>
                    <a:lnTo>
                      <a:pt x="18" y="11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29" name="Freeform 9"/>
              <p:cNvSpPr>
                <a:spLocks/>
              </p:cNvSpPr>
              <p:nvPr/>
            </p:nvSpPr>
            <p:spPr bwMode="auto">
              <a:xfrm>
                <a:off x="7561263" y="3494088"/>
                <a:ext cx="244475" cy="246063"/>
              </a:xfrm>
              <a:custGeom>
                <a:avLst/>
                <a:gdLst>
                  <a:gd name="T0" fmla="*/ 17 w 96"/>
                  <a:gd name="T1" fmla="*/ 91 h 96"/>
                  <a:gd name="T2" fmla="*/ 3 w 96"/>
                  <a:gd name="T3" fmla="*/ 93 h 96"/>
                  <a:gd name="T4" fmla="*/ 3 w 96"/>
                  <a:gd name="T5" fmla="*/ 93 h 96"/>
                  <a:gd name="T6" fmla="*/ 5 w 96"/>
                  <a:gd name="T7" fmla="*/ 79 h 96"/>
                  <a:gd name="T8" fmla="*/ 78 w 96"/>
                  <a:gd name="T9" fmla="*/ 5 h 96"/>
                  <a:gd name="T10" fmla="*/ 92 w 96"/>
                  <a:gd name="T11" fmla="*/ 4 h 96"/>
                  <a:gd name="T12" fmla="*/ 92 w 96"/>
                  <a:gd name="T13" fmla="*/ 4 h 96"/>
                  <a:gd name="T14" fmla="*/ 91 w 96"/>
                  <a:gd name="T15" fmla="*/ 18 h 96"/>
                  <a:gd name="T16" fmla="*/ 17 w 96"/>
                  <a:gd name="T17"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6">
                    <a:moveTo>
                      <a:pt x="17" y="91"/>
                    </a:moveTo>
                    <a:cubicBezTo>
                      <a:pt x="12" y="96"/>
                      <a:pt x="7" y="96"/>
                      <a:pt x="3" y="93"/>
                    </a:cubicBezTo>
                    <a:cubicBezTo>
                      <a:pt x="3" y="93"/>
                      <a:pt x="3" y="93"/>
                      <a:pt x="3" y="93"/>
                    </a:cubicBezTo>
                    <a:cubicBezTo>
                      <a:pt x="0" y="89"/>
                      <a:pt x="0" y="84"/>
                      <a:pt x="5" y="79"/>
                    </a:cubicBezTo>
                    <a:cubicBezTo>
                      <a:pt x="78" y="5"/>
                      <a:pt x="78" y="5"/>
                      <a:pt x="78" y="5"/>
                    </a:cubicBezTo>
                    <a:cubicBezTo>
                      <a:pt x="83" y="0"/>
                      <a:pt x="89" y="0"/>
                      <a:pt x="92" y="4"/>
                    </a:cubicBezTo>
                    <a:cubicBezTo>
                      <a:pt x="92" y="4"/>
                      <a:pt x="92" y="4"/>
                      <a:pt x="92" y="4"/>
                    </a:cubicBezTo>
                    <a:cubicBezTo>
                      <a:pt x="96" y="7"/>
                      <a:pt x="96" y="13"/>
                      <a:pt x="91" y="18"/>
                    </a:cubicBezTo>
                    <a:lnTo>
                      <a:pt x="17" y="9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30" name="Freeform 10"/>
              <p:cNvSpPr>
                <a:spLocks/>
              </p:cNvSpPr>
              <p:nvPr/>
            </p:nvSpPr>
            <p:spPr bwMode="auto">
              <a:xfrm>
                <a:off x="7545388" y="3481388"/>
                <a:ext cx="273050" cy="273050"/>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grpSp>
        <p:grpSp>
          <p:nvGrpSpPr>
            <p:cNvPr id="63" name="Group 62"/>
            <p:cNvGrpSpPr>
              <a:grpSpLocks noChangeAspect="1"/>
            </p:cNvGrpSpPr>
            <p:nvPr/>
          </p:nvGrpSpPr>
          <p:grpSpPr>
            <a:xfrm>
              <a:off x="7431087" y="2768664"/>
              <a:ext cx="493864" cy="496309"/>
              <a:chOff x="6861175" y="3397250"/>
              <a:chExt cx="320675" cy="322263"/>
            </a:xfrm>
          </p:grpSpPr>
          <p:sp>
            <p:nvSpPr>
              <p:cNvPr id="31" name="Freeform 11"/>
              <p:cNvSpPr>
                <a:spLocks/>
              </p:cNvSpPr>
              <p:nvPr/>
            </p:nvSpPr>
            <p:spPr bwMode="auto">
              <a:xfrm>
                <a:off x="6861175" y="3513138"/>
                <a:ext cx="320675" cy="92075"/>
              </a:xfrm>
              <a:custGeom>
                <a:avLst/>
                <a:gdLst>
                  <a:gd name="T0" fmla="*/ 112 w 126"/>
                  <a:gd name="T1" fmla="*/ 2 h 36"/>
                  <a:gd name="T2" fmla="*/ 125 w 126"/>
                  <a:gd name="T3" fmla="*/ 8 h 36"/>
                  <a:gd name="T4" fmla="*/ 125 w 126"/>
                  <a:gd name="T5" fmla="*/ 8 h 36"/>
                  <a:gd name="T6" fmla="*/ 115 w 126"/>
                  <a:gd name="T7" fmla="*/ 19 h 36"/>
                  <a:gd name="T8" fmla="*/ 13 w 126"/>
                  <a:gd name="T9" fmla="*/ 35 h 36"/>
                  <a:gd name="T10" fmla="*/ 0 w 126"/>
                  <a:gd name="T11" fmla="*/ 28 h 36"/>
                  <a:gd name="T12" fmla="*/ 0 w 126"/>
                  <a:gd name="T13" fmla="*/ 28 h 36"/>
                  <a:gd name="T14" fmla="*/ 10 w 126"/>
                  <a:gd name="T15" fmla="*/ 18 h 36"/>
                  <a:gd name="T16" fmla="*/ 112 w 126"/>
                  <a:gd name="T17"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36">
                    <a:moveTo>
                      <a:pt x="112" y="2"/>
                    </a:moveTo>
                    <a:cubicBezTo>
                      <a:pt x="120" y="0"/>
                      <a:pt x="124" y="4"/>
                      <a:pt x="125" y="8"/>
                    </a:cubicBezTo>
                    <a:cubicBezTo>
                      <a:pt x="125" y="8"/>
                      <a:pt x="125" y="8"/>
                      <a:pt x="125" y="8"/>
                    </a:cubicBezTo>
                    <a:cubicBezTo>
                      <a:pt x="126" y="13"/>
                      <a:pt x="123" y="18"/>
                      <a:pt x="115" y="19"/>
                    </a:cubicBezTo>
                    <a:cubicBezTo>
                      <a:pt x="13" y="35"/>
                      <a:pt x="13" y="35"/>
                      <a:pt x="13" y="35"/>
                    </a:cubicBezTo>
                    <a:cubicBezTo>
                      <a:pt x="6" y="36"/>
                      <a:pt x="1" y="33"/>
                      <a:pt x="0" y="28"/>
                    </a:cubicBezTo>
                    <a:cubicBezTo>
                      <a:pt x="0" y="28"/>
                      <a:pt x="0" y="28"/>
                      <a:pt x="0" y="28"/>
                    </a:cubicBezTo>
                    <a:cubicBezTo>
                      <a:pt x="0" y="23"/>
                      <a:pt x="3" y="19"/>
                      <a:pt x="10" y="18"/>
                    </a:cubicBezTo>
                    <a:lnTo>
                      <a:pt x="112" y="2"/>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32" name="Freeform 12"/>
              <p:cNvSpPr>
                <a:spLocks/>
              </p:cNvSpPr>
              <p:nvPr/>
            </p:nvSpPr>
            <p:spPr bwMode="auto">
              <a:xfrm>
                <a:off x="6870700" y="3471863"/>
                <a:ext cx="298450" cy="176213"/>
              </a:xfrm>
              <a:custGeom>
                <a:avLst/>
                <a:gdLst>
                  <a:gd name="T0" fmla="*/ 109 w 117"/>
                  <a:gd name="T1" fmla="*/ 50 h 69"/>
                  <a:gd name="T2" fmla="*/ 115 w 117"/>
                  <a:gd name="T3" fmla="*/ 63 h 69"/>
                  <a:gd name="T4" fmla="*/ 115 w 117"/>
                  <a:gd name="T5" fmla="*/ 63 h 69"/>
                  <a:gd name="T6" fmla="*/ 101 w 117"/>
                  <a:gd name="T7" fmla="*/ 66 h 69"/>
                  <a:gd name="T8" fmla="*/ 9 w 117"/>
                  <a:gd name="T9" fmla="*/ 19 h 69"/>
                  <a:gd name="T10" fmla="*/ 3 w 117"/>
                  <a:gd name="T11" fmla="*/ 6 h 69"/>
                  <a:gd name="T12" fmla="*/ 3 w 117"/>
                  <a:gd name="T13" fmla="*/ 6 h 69"/>
                  <a:gd name="T14" fmla="*/ 17 w 117"/>
                  <a:gd name="T15" fmla="*/ 3 h 69"/>
                  <a:gd name="T16" fmla="*/ 109 w 117"/>
                  <a:gd name="T17"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69">
                    <a:moveTo>
                      <a:pt x="109" y="50"/>
                    </a:moveTo>
                    <a:cubicBezTo>
                      <a:pt x="115" y="53"/>
                      <a:pt x="117" y="59"/>
                      <a:pt x="115" y="63"/>
                    </a:cubicBezTo>
                    <a:cubicBezTo>
                      <a:pt x="115" y="63"/>
                      <a:pt x="115" y="63"/>
                      <a:pt x="115" y="63"/>
                    </a:cubicBezTo>
                    <a:cubicBezTo>
                      <a:pt x="113" y="67"/>
                      <a:pt x="107" y="69"/>
                      <a:pt x="101" y="66"/>
                    </a:cubicBezTo>
                    <a:cubicBezTo>
                      <a:pt x="9" y="19"/>
                      <a:pt x="9" y="19"/>
                      <a:pt x="9" y="19"/>
                    </a:cubicBezTo>
                    <a:cubicBezTo>
                      <a:pt x="2" y="15"/>
                      <a:pt x="0" y="10"/>
                      <a:pt x="3" y="6"/>
                    </a:cubicBezTo>
                    <a:cubicBezTo>
                      <a:pt x="3" y="6"/>
                      <a:pt x="3" y="6"/>
                      <a:pt x="3" y="6"/>
                    </a:cubicBezTo>
                    <a:cubicBezTo>
                      <a:pt x="5" y="1"/>
                      <a:pt x="10" y="0"/>
                      <a:pt x="17" y="3"/>
                    </a:cubicBezTo>
                    <a:lnTo>
                      <a:pt x="109" y="5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33" name="Freeform 13"/>
              <p:cNvSpPr>
                <a:spLocks/>
              </p:cNvSpPr>
              <p:nvPr/>
            </p:nvSpPr>
            <p:spPr bwMode="auto">
              <a:xfrm>
                <a:off x="6932613" y="3409950"/>
                <a:ext cx="174625" cy="300038"/>
              </a:xfrm>
              <a:custGeom>
                <a:avLst/>
                <a:gdLst>
                  <a:gd name="T0" fmla="*/ 66 w 69"/>
                  <a:gd name="T1" fmla="*/ 100 h 117"/>
                  <a:gd name="T2" fmla="*/ 63 w 69"/>
                  <a:gd name="T3" fmla="*/ 114 h 117"/>
                  <a:gd name="T4" fmla="*/ 63 w 69"/>
                  <a:gd name="T5" fmla="*/ 114 h 117"/>
                  <a:gd name="T6" fmla="*/ 50 w 69"/>
                  <a:gd name="T7" fmla="*/ 108 h 117"/>
                  <a:gd name="T8" fmla="*/ 3 w 69"/>
                  <a:gd name="T9" fmla="*/ 16 h 117"/>
                  <a:gd name="T10" fmla="*/ 6 w 69"/>
                  <a:gd name="T11" fmla="*/ 2 h 117"/>
                  <a:gd name="T12" fmla="*/ 6 w 69"/>
                  <a:gd name="T13" fmla="*/ 2 h 117"/>
                  <a:gd name="T14" fmla="*/ 19 w 69"/>
                  <a:gd name="T15" fmla="*/ 8 h 117"/>
                  <a:gd name="T16" fmla="*/ 66 w 69"/>
                  <a:gd name="T17" fmla="*/ 10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17">
                    <a:moveTo>
                      <a:pt x="66" y="100"/>
                    </a:moveTo>
                    <a:cubicBezTo>
                      <a:pt x="69" y="107"/>
                      <a:pt x="68" y="112"/>
                      <a:pt x="63" y="114"/>
                    </a:cubicBezTo>
                    <a:cubicBezTo>
                      <a:pt x="63" y="114"/>
                      <a:pt x="63" y="114"/>
                      <a:pt x="63" y="114"/>
                    </a:cubicBezTo>
                    <a:cubicBezTo>
                      <a:pt x="59" y="117"/>
                      <a:pt x="54" y="115"/>
                      <a:pt x="50" y="108"/>
                    </a:cubicBezTo>
                    <a:cubicBezTo>
                      <a:pt x="3" y="16"/>
                      <a:pt x="3" y="16"/>
                      <a:pt x="3" y="16"/>
                    </a:cubicBezTo>
                    <a:cubicBezTo>
                      <a:pt x="0" y="10"/>
                      <a:pt x="2" y="4"/>
                      <a:pt x="6" y="2"/>
                    </a:cubicBezTo>
                    <a:cubicBezTo>
                      <a:pt x="6" y="2"/>
                      <a:pt x="6" y="2"/>
                      <a:pt x="6" y="2"/>
                    </a:cubicBezTo>
                    <a:cubicBezTo>
                      <a:pt x="10" y="0"/>
                      <a:pt x="16" y="2"/>
                      <a:pt x="19" y="8"/>
                    </a:cubicBezTo>
                    <a:lnTo>
                      <a:pt x="66" y="10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34" name="Freeform 14"/>
              <p:cNvSpPr>
                <a:spLocks/>
              </p:cNvSpPr>
              <p:nvPr/>
            </p:nvSpPr>
            <p:spPr bwMode="auto">
              <a:xfrm>
                <a:off x="6975475" y="3397250"/>
                <a:ext cx="92075" cy="322263"/>
              </a:xfrm>
              <a:custGeom>
                <a:avLst/>
                <a:gdLst>
                  <a:gd name="T0" fmla="*/ 18 w 36"/>
                  <a:gd name="T1" fmla="*/ 116 h 126"/>
                  <a:gd name="T2" fmla="*/ 8 w 36"/>
                  <a:gd name="T3" fmla="*/ 126 h 126"/>
                  <a:gd name="T4" fmla="*/ 8 w 36"/>
                  <a:gd name="T5" fmla="*/ 126 h 126"/>
                  <a:gd name="T6" fmla="*/ 1 w 36"/>
                  <a:gd name="T7" fmla="*/ 113 h 126"/>
                  <a:gd name="T8" fmla="*/ 17 w 36"/>
                  <a:gd name="T9" fmla="*/ 11 h 126"/>
                  <a:gd name="T10" fmla="*/ 28 w 36"/>
                  <a:gd name="T11" fmla="*/ 1 h 126"/>
                  <a:gd name="T12" fmla="*/ 28 w 36"/>
                  <a:gd name="T13" fmla="*/ 1 h 126"/>
                  <a:gd name="T14" fmla="*/ 34 w 36"/>
                  <a:gd name="T15" fmla="*/ 14 h 126"/>
                  <a:gd name="T16" fmla="*/ 18 w 36"/>
                  <a:gd name="T17" fmla="*/ 11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26">
                    <a:moveTo>
                      <a:pt x="18" y="116"/>
                    </a:moveTo>
                    <a:cubicBezTo>
                      <a:pt x="17" y="123"/>
                      <a:pt x="13" y="126"/>
                      <a:pt x="8" y="126"/>
                    </a:cubicBezTo>
                    <a:cubicBezTo>
                      <a:pt x="8" y="126"/>
                      <a:pt x="8" y="126"/>
                      <a:pt x="8" y="126"/>
                    </a:cubicBezTo>
                    <a:cubicBezTo>
                      <a:pt x="3" y="125"/>
                      <a:pt x="0" y="120"/>
                      <a:pt x="1" y="113"/>
                    </a:cubicBezTo>
                    <a:cubicBezTo>
                      <a:pt x="17" y="11"/>
                      <a:pt x="17" y="11"/>
                      <a:pt x="17" y="11"/>
                    </a:cubicBezTo>
                    <a:cubicBezTo>
                      <a:pt x="18" y="4"/>
                      <a:pt x="23" y="0"/>
                      <a:pt x="28" y="1"/>
                    </a:cubicBezTo>
                    <a:cubicBezTo>
                      <a:pt x="28" y="1"/>
                      <a:pt x="28" y="1"/>
                      <a:pt x="28" y="1"/>
                    </a:cubicBezTo>
                    <a:cubicBezTo>
                      <a:pt x="32" y="2"/>
                      <a:pt x="36" y="6"/>
                      <a:pt x="34" y="14"/>
                    </a:cubicBezTo>
                    <a:lnTo>
                      <a:pt x="18" y="116"/>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35" name="Freeform 15"/>
              <p:cNvSpPr>
                <a:spLocks/>
              </p:cNvSpPr>
              <p:nvPr/>
            </p:nvSpPr>
            <p:spPr bwMode="auto">
              <a:xfrm>
                <a:off x="6899275" y="3436938"/>
                <a:ext cx="244475" cy="244475"/>
              </a:xfrm>
              <a:custGeom>
                <a:avLst/>
                <a:gdLst>
                  <a:gd name="T0" fmla="*/ 17 w 96"/>
                  <a:gd name="T1" fmla="*/ 91 h 96"/>
                  <a:gd name="T2" fmla="*/ 3 w 96"/>
                  <a:gd name="T3" fmla="*/ 93 h 96"/>
                  <a:gd name="T4" fmla="*/ 3 w 96"/>
                  <a:gd name="T5" fmla="*/ 93 h 96"/>
                  <a:gd name="T6" fmla="*/ 5 w 96"/>
                  <a:gd name="T7" fmla="*/ 79 h 96"/>
                  <a:gd name="T8" fmla="*/ 78 w 96"/>
                  <a:gd name="T9" fmla="*/ 6 h 96"/>
                  <a:gd name="T10" fmla="*/ 92 w 96"/>
                  <a:gd name="T11" fmla="*/ 4 h 96"/>
                  <a:gd name="T12" fmla="*/ 92 w 96"/>
                  <a:gd name="T13" fmla="*/ 4 h 96"/>
                  <a:gd name="T14" fmla="*/ 90 w 96"/>
                  <a:gd name="T15" fmla="*/ 18 h 96"/>
                  <a:gd name="T16" fmla="*/ 17 w 96"/>
                  <a:gd name="T17"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6">
                    <a:moveTo>
                      <a:pt x="17" y="91"/>
                    </a:moveTo>
                    <a:cubicBezTo>
                      <a:pt x="12" y="96"/>
                      <a:pt x="7" y="96"/>
                      <a:pt x="3" y="93"/>
                    </a:cubicBezTo>
                    <a:cubicBezTo>
                      <a:pt x="3" y="93"/>
                      <a:pt x="3" y="93"/>
                      <a:pt x="3" y="93"/>
                    </a:cubicBezTo>
                    <a:cubicBezTo>
                      <a:pt x="0" y="89"/>
                      <a:pt x="0" y="84"/>
                      <a:pt x="5" y="79"/>
                    </a:cubicBezTo>
                    <a:cubicBezTo>
                      <a:pt x="78" y="6"/>
                      <a:pt x="78" y="6"/>
                      <a:pt x="78" y="6"/>
                    </a:cubicBezTo>
                    <a:cubicBezTo>
                      <a:pt x="83" y="0"/>
                      <a:pt x="89" y="0"/>
                      <a:pt x="92" y="4"/>
                    </a:cubicBezTo>
                    <a:cubicBezTo>
                      <a:pt x="92" y="4"/>
                      <a:pt x="92" y="4"/>
                      <a:pt x="92" y="4"/>
                    </a:cubicBezTo>
                    <a:cubicBezTo>
                      <a:pt x="96" y="7"/>
                      <a:pt x="96" y="13"/>
                      <a:pt x="90" y="18"/>
                    </a:cubicBezTo>
                    <a:lnTo>
                      <a:pt x="17" y="91"/>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36" name="Freeform 16"/>
              <p:cNvSpPr>
                <a:spLocks/>
              </p:cNvSpPr>
              <p:nvPr/>
            </p:nvSpPr>
            <p:spPr bwMode="auto">
              <a:xfrm>
                <a:off x="6883400" y="3422650"/>
                <a:ext cx="273050" cy="273050"/>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37" name="Freeform 17"/>
              <p:cNvSpPr>
                <a:spLocks/>
              </p:cNvSpPr>
              <p:nvPr/>
            </p:nvSpPr>
            <p:spPr bwMode="auto">
              <a:xfrm>
                <a:off x="6929438" y="3468688"/>
                <a:ext cx="180975" cy="179388"/>
              </a:xfrm>
              <a:custGeom>
                <a:avLst/>
                <a:gdLst>
                  <a:gd name="T0" fmla="*/ 13 w 71"/>
                  <a:gd name="T1" fmla="*/ 13 h 70"/>
                  <a:gd name="T2" fmla="*/ 13 w 71"/>
                  <a:gd name="T3" fmla="*/ 58 h 70"/>
                  <a:gd name="T4" fmla="*/ 58 w 71"/>
                  <a:gd name="T5" fmla="*/ 58 h 70"/>
                  <a:gd name="T6" fmla="*/ 58 w 71"/>
                  <a:gd name="T7" fmla="*/ 13 h 70"/>
                  <a:gd name="T8" fmla="*/ 13 w 71"/>
                  <a:gd name="T9" fmla="*/ 13 h 70"/>
                </a:gdLst>
                <a:ahLst/>
                <a:cxnLst>
                  <a:cxn ang="0">
                    <a:pos x="T0" y="T1"/>
                  </a:cxn>
                  <a:cxn ang="0">
                    <a:pos x="T2" y="T3"/>
                  </a:cxn>
                  <a:cxn ang="0">
                    <a:pos x="T4" y="T5"/>
                  </a:cxn>
                  <a:cxn ang="0">
                    <a:pos x="T6" y="T7"/>
                  </a:cxn>
                  <a:cxn ang="0">
                    <a:pos x="T8" y="T9"/>
                  </a:cxn>
                </a:cxnLst>
                <a:rect l="0" t="0" r="r" b="b"/>
                <a:pathLst>
                  <a:path w="71" h="70">
                    <a:moveTo>
                      <a:pt x="13" y="13"/>
                    </a:moveTo>
                    <a:cubicBezTo>
                      <a:pt x="0" y="25"/>
                      <a:pt x="0" y="45"/>
                      <a:pt x="13" y="58"/>
                    </a:cubicBezTo>
                    <a:cubicBezTo>
                      <a:pt x="25" y="70"/>
                      <a:pt x="46" y="70"/>
                      <a:pt x="58" y="58"/>
                    </a:cubicBezTo>
                    <a:cubicBezTo>
                      <a:pt x="71" y="45"/>
                      <a:pt x="71" y="25"/>
                      <a:pt x="58" y="13"/>
                    </a:cubicBezTo>
                    <a:cubicBezTo>
                      <a:pt x="46" y="0"/>
                      <a:pt x="25" y="0"/>
                      <a:pt x="13" y="13"/>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38" name="Freeform 18"/>
              <p:cNvSpPr>
                <a:spLocks noEditPoints="1"/>
              </p:cNvSpPr>
              <p:nvPr/>
            </p:nvSpPr>
            <p:spPr bwMode="auto">
              <a:xfrm>
                <a:off x="6970713" y="3443288"/>
                <a:ext cx="131763" cy="65088"/>
              </a:xfrm>
              <a:custGeom>
                <a:avLst/>
                <a:gdLst>
                  <a:gd name="T0" fmla="*/ 50 w 52"/>
                  <a:gd name="T1" fmla="*/ 15 h 25"/>
                  <a:gd name="T2" fmla="*/ 5 w 52"/>
                  <a:gd name="T3" fmla="*/ 5 h 25"/>
                  <a:gd name="T4" fmla="*/ 4 w 52"/>
                  <a:gd name="T5" fmla="*/ 6 h 25"/>
                  <a:gd name="T6" fmla="*/ 2 w 52"/>
                  <a:gd name="T7" fmla="*/ 7 h 25"/>
                  <a:gd name="T8" fmla="*/ 2 w 52"/>
                  <a:gd name="T9" fmla="*/ 14 h 25"/>
                  <a:gd name="T10" fmla="*/ 7 w 52"/>
                  <a:gd name="T11" fmla="*/ 16 h 25"/>
                  <a:gd name="T12" fmla="*/ 7 w 52"/>
                  <a:gd name="T13" fmla="*/ 16 h 25"/>
                  <a:gd name="T14" fmla="*/ 7 w 52"/>
                  <a:gd name="T15" fmla="*/ 16 h 25"/>
                  <a:gd name="T16" fmla="*/ 42 w 52"/>
                  <a:gd name="T17" fmla="*/ 23 h 25"/>
                  <a:gd name="T18" fmla="*/ 50 w 52"/>
                  <a:gd name="T19" fmla="*/ 23 h 25"/>
                  <a:gd name="T20" fmla="*/ 50 w 52"/>
                  <a:gd name="T21" fmla="*/ 15 h 25"/>
                  <a:gd name="T22" fmla="*/ 9 w 52"/>
                  <a:gd name="T23" fmla="*/ 15 h 25"/>
                  <a:gd name="T24" fmla="*/ 9 w 52"/>
                  <a:gd name="T25" fmla="*/ 15 h 25"/>
                  <a:gd name="T26" fmla="*/ 9 w 52"/>
                  <a:gd name="T27"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25">
                    <a:moveTo>
                      <a:pt x="50" y="15"/>
                    </a:moveTo>
                    <a:cubicBezTo>
                      <a:pt x="38" y="3"/>
                      <a:pt x="20" y="0"/>
                      <a:pt x="5" y="5"/>
                    </a:cubicBezTo>
                    <a:cubicBezTo>
                      <a:pt x="4" y="5"/>
                      <a:pt x="4" y="6"/>
                      <a:pt x="4" y="6"/>
                    </a:cubicBezTo>
                    <a:cubicBezTo>
                      <a:pt x="3" y="6"/>
                      <a:pt x="3" y="6"/>
                      <a:pt x="2" y="7"/>
                    </a:cubicBezTo>
                    <a:cubicBezTo>
                      <a:pt x="0" y="9"/>
                      <a:pt x="0" y="12"/>
                      <a:pt x="2" y="14"/>
                    </a:cubicBezTo>
                    <a:cubicBezTo>
                      <a:pt x="4" y="16"/>
                      <a:pt x="6" y="16"/>
                      <a:pt x="7" y="16"/>
                    </a:cubicBezTo>
                    <a:cubicBezTo>
                      <a:pt x="7" y="16"/>
                      <a:pt x="7" y="16"/>
                      <a:pt x="7" y="16"/>
                    </a:cubicBezTo>
                    <a:cubicBezTo>
                      <a:pt x="7" y="16"/>
                      <a:pt x="7" y="16"/>
                      <a:pt x="7" y="16"/>
                    </a:cubicBezTo>
                    <a:cubicBezTo>
                      <a:pt x="19" y="11"/>
                      <a:pt x="33" y="13"/>
                      <a:pt x="42" y="23"/>
                    </a:cubicBezTo>
                    <a:cubicBezTo>
                      <a:pt x="44" y="25"/>
                      <a:pt x="48" y="25"/>
                      <a:pt x="50" y="23"/>
                    </a:cubicBezTo>
                    <a:cubicBezTo>
                      <a:pt x="52" y="21"/>
                      <a:pt x="52" y="17"/>
                      <a:pt x="50" y="15"/>
                    </a:cubicBezTo>
                    <a:close/>
                    <a:moveTo>
                      <a:pt x="9" y="15"/>
                    </a:moveTo>
                    <a:cubicBezTo>
                      <a:pt x="9" y="15"/>
                      <a:pt x="9" y="15"/>
                      <a:pt x="9" y="15"/>
                    </a:cubicBezTo>
                    <a:cubicBezTo>
                      <a:pt x="9" y="15"/>
                      <a:pt x="9" y="15"/>
                      <a:pt x="9" y="15"/>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39" name="Freeform 19"/>
              <p:cNvSpPr>
                <a:spLocks/>
              </p:cNvSpPr>
              <p:nvPr/>
            </p:nvSpPr>
            <p:spPr bwMode="auto">
              <a:xfrm>
                <a:off x="6942138" y="3479800"/>
                <a:ext cx="28575" cy="30163"/>
              </a:xfrm>
              <a:custGeom>
                <a:avLst/>
                <a:gdLst>
                  <a:gd name="T0" fmla="*/ 2 w 11"/>
                  <a:gd name="T1" fmla="*/ 10 h 12"/>
                  <a:gd name="T2" fmla="*/ 9 w 11"/>
                  <a:gd name="T3" fmla="*/ 10 h 12"/>
                  <a:gd name="T4" fmla="*/ 9 w 11"/>
                  <a:gd name="T5" fmla="*/ 2 h 12"/>
                  <a:gd name="T6" fmla="*/ 4 w 11"/>
                  <a:gd name="T7" fmla="*/ 1 h 12"/>
                  <a:gd name="T8" fmla="*/ 3 w 11"/>
                  <a:gd name="T9" fmla="*/ 1 h 12"/>
                  <a:gd name="T10" fmla="*/ 2 w 11"/>
                  <a:gd name="T11" fmla="*/ 2 h 12"/>
                  <a:gd name="T12" fmla="*/ 2 w 11"/>
                  <a:gd name="T13" fmla="*/ 10 h 12"/>
                </a:gdLst>
                <a:ahLst/>
                <a:cxnLst>
                  <a:cxn ang="0">
                    <a:pos x="T0" y="T1"/>
                  </a:cxn>
                  <a:cxn ang="0">
                    <a:pos x="T2" y="T3"/>
                  </a:cxn>
                  <a:cxn ang="0">
                    <a:pos x="T4" y="T5"/>
                  </a:cxn>
                  <a:cxn ang="0">
                    <a:pos x="T6" y="T7"/>
                  </a:cxn>
                  <a:cxn ang="0">
                    <a:pos x="T8" y="T9"/>
                  </a:cxn>
                  <a:cxn ang="0">
                    <a:pos x="T10" y="T11"/>
                  </a:cxn>
                  <a:cxn ang="0">
                    <a:pos x="T12" y="T13"/>
                  </a:cxn>
                </a:cxnLst>
                <a:rect l="0" t="0" r="r" b="b"/>
                <a:pathLst>
                  <a:path w="11" h="12">
                    <a:moveTo>
                      <a:pt x="2" y="10"/>
                    </a:moveTo>
                    <a:cubicBezTo>
                      <a:pt x="4" y="12"/>
                      <a:pt x="7" y="12"/>
                      <a:pt x="9" y="10"/>
                    </a:cubicBezTo>
                    <a:cubicBezTo>
                      <a:pt x="11" y="8"/>
                      <a:pt x="11" y="4"/>
                      <a:pt x="9" y="2"/>
                    </a:cubicBezTo>
                    <a:cubicBezTo>
                      <a:pt x="8" y="1"/>
                      <a:pt x="6" y="0"/>
                      <a:pt x="4" y="1"/>
                    </a:cubicBezTo>
                    <a:cubicBezTo>
                      <a:pt x="4" y="1"/>
                      <a:pt x="3" y="1"/>
                      <a:pt x="3" y="1"/>
                    </a:cubicBezTo>
                    <a:cubicBezTo>
                      <a:pt x="3" y="1"/>
                      <a:pt x="2" y="2"/>
                      <a:pt x="2" y="2"/>
                    </a:cubicBezTo>
                    <a:cubicBezTo>
                      <a:pt x="0" y="4"/>
                      <a:pt x="0" y="8"/>
                      <a:pt x="2" y="10"/>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grpSp>
        <p:grpSp>
          <p:nvGrpSpPr>
            <p:cNvPr id="61" name="Group 60"/>
            <p:cNvGrpSpPr>
              <a:grpSpLocks noChangeAspect="1"/>
            </p:cNvGrpSpPr>
            <p:nvPr/>
          </p:nvGrpSpPr>
          <p:grpSpPr>
            <a:xfrm>
              <a:off x="7536284" y="3225322"/>
              <a:ext cx="738351" cy="740796"/>
              <a:chOff x="7050088" y="3657600"/>
              <a:chExt cx="479425" cy="481013"/>
            </a:xfrm>
          </p:grpSpPr>
          <p:sp>
            <p:nvSpPr>
              <p:cNvPr id="40" name="Freeform 20"/>
              <p:cNvSpPr>
                <a:spLocks/>
              </p:cNvSpPr>
              <p:nvPr/>
            </p:nvSpPr>
            <p:spPr bwMode="auto">
              <a:xfrm>
                <a:off x="7050088" y="3854450"/>
                <a:ext cx="479425" cy="87313"/>
              </a:xfrm>
              <a:custGeom>
                <a:avLst/>
                <a:gdLst>
                  <a:gd name="T0" fmla="*/ 11 w 189"/>
                  <a:gd name="T1" fmla="*/ 33 h 34"/>
                  <a:gd name="T2" fmla="*/ 1 w 189"/>
                  <a:gd name="T3" fmla="*/ 25 h 34"/>
                  <a:gd name="T4" fmla="*/ 1 w 189"/>
                  <a:gd name="T5" fmla="*/ 25 h 34"/>
                  <a:gd name="T6" fmla="*/ 9 w 189"/>
                  <a:gd name="T7" fmla="*/ 15 h 34"/>
                  <a:gd name="T8" fmla="*/ 178 w 189"/>
                  <a:gd name="T9" fmla="*/ 0 h 34"/>
                  <a:gd name="T10" fmla="*/ 188 w 189"/>
                  <a:gd name="T11" fmla="*/ 9 h 34"/>
                  <a:gd name="T12" fmla="*/ 188 w 189"/>
                  <a:gd name="T13" fmla="*/ 9 h 34"/>
                  <a:gd name="T14" fmla="*/ 180 w 189"/>
                  <a:gd name="T15" fmla="*/ 18 h 34"/>
                  <a:gd name="T16" fmla="*/ 11 w 189"/>
                  <a:gd name="T1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9" h="34">
                    <a:moveTo>
                      <a:pt x="11" y="33"/>
                    </a:moveTo>
                    <a:cubicBezTo>
                      <a:pt x="4" y="34"/>
                      <a:pt x="1" y="30"/>
                      <a:pt x="1" y="25"/>
                    </a:cubicBezTo>
                    <a:cubicBezTo>
                      <a:pt x="1" y="25"/>
                      <a:pt x="1" y="25"/>
                      <a:pt x="1" y="25"/>
                    </a:cubicBezTo>
                    <a:cubicBezTo>
                      <a:pt x="0" y="20"/>
                      <a:pt x="2" y="16"/>
                      <a:pt x="9" y="15"/>
                    </a:cubicBezTo>
                    <a:cubicBezTo>
                      <a:pt x="178" y="0"/>
                      <a:pt x="178" y="0"/>
                      <a:pt x="178" y="0"/>
                    </a:cubicBezTo>
                    <a:cubicBezTo>
                      <a:pt x="185" y="0"/>
                      <a:pt x="188" y="4"/>
                      <a:pt x="188" y="9"/>
                    </a:cubicBezTo>
                    <a:cubicBezTo>
                      <a:pt x="188" y="9"/>
                      <a:pt x="188" y="9"/>
                      <a:pt x="188" y="9"/>
                    </a:cubicBezTo>
                    <a:cubicBezTo>
                      <a:pt x="189" y="14"/>
                      <a:pt x="187" y="18"/>
                      <a:pt x="180" y="18"/>
                    </a:cubicBezTo>
                    <a:lnTo>
                      <a:pt x="11" y="3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41" name="Freeform 21"/>
              <p:cNvSpPr>
                <a:spLocks/>
              </p:cNvSpPr>
              <p:nvPr/>
            </p:nvSpPr>
            <p:spPr bwMode="auto">
              <a:xfrm>
                <a:off x="7085013" y="3744913"/>
                <a:ext cx="409575" cy="306388"/>
              </a:xfrm>
              <a:custGeom>
                <a:avLst/>
                <a:gdLst>
                  <a:gd name="T0" fmla="*/ 6 w 161"/>
                  <a:gd name="T1" fmla="*/ 18 h 120"/>
                  <a:gd name="T2" fmla="*/ 3 w 161"/>
                  <a:gd name="T3" fmla="*/ 6 h 120"/>
                  <a:gd name="T4" fmla="*/ 3 w 161"/>
                  <a:gd name="T5" fmla="*/ 6 h 120"/>
                  <a:gd name="T6" fmla="*/ 16 w 161"/>
                  <a:gd name="T7" fmla="*/ 4 h 120"/>
                  <a:gd name="T8" fmla="*/ 155 w 161"/>
                  <a:gd name="T9" fmla="*/ 101 h 120"/>
                  <a:gd name="T10" fmla="*/ 158 w 161"/>
                  <a:gd name="T11" fmla="*/ 114 h 120"/>
                  <a:gd name="T12" fmla="*/ 158 w 161"/>
                  <a:gd name="T13" fmla="*/ 114 h 120"/>
                  <a:gd name="T14" fmla="*/ 145 w 161"/>
                  <a:gd name="T15" fmla="*/ 116 h 120"/>
                  <a:gd name="T16" fmla="*/ 6 w 161"/>
                  <a:gd name="T17" fmla="*/ 1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20">
                    <a:moveTo>
                      <a:pt x="6" y="18"/>
                    </a:moveTo>
                    <a:cubicBezTo>
                      <a:pt x="0" y="14"/>
                      <a:pt x="1" y="10"/>
                      <a:pt x="3" y="6"/>
                    </a:cubicBezTo>
                    <a:cubicBezTo>
                      <a:pt x="3" y="6"/>
                      <a:pt x="3" y="6"/>
                      <a:pt x="3" y="6"/>
                    </a:cubicBezTo>
                    <a:cubicBezTo>
                      <a:pt x="6" y="2"/>
                      <a:pt x="10" y="0"/>
                      <a:pt x="16" y="4"/>
                    </a:cubicBezTo>
                    <a:cubicBezTo>
                      <a:pt x="155" y="101"/>
                      <a:pt x="155" y="101"/>
                      <a:pt x="155" y="101"/>
                    </a:cubicBezTo>
                    <a:cubicBezTo>
                      <a:pt x="161" y="105"/>
                      <a:pt x="160" y="110"/>
                      <a:pt x="158" y="114"/>
                    </a:cubicBezTo>
                    <a:cubicBezTo>
                      <a:pt x="158" y="114"/>
                      <a:pt x="158" y="114"/>
                      <a:pt x="158" y="114"/>
                    </a:cubicBezTo>
                    <a:cubicBezTo>
                      <a:pt x="155" y="118"/>
                      <a:pt x="151" y="120"/>
                      <a:pt x="145" y="116"/>
                    </a:cubicBezTo>
                    <a:lnTo>
                      <a:pt x="6" y="18"/>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42" name="Freeform 22"/>
              <p:cNvSpPr>
                <a:spLocks/>
              </p:cNvSpPr>
              <p:nvPr/>
            </p:nvSpPr>
            <p:spPr bwMode="auto">
              <a:xfrm>
                <a:off x="7207250" y="3663950"/>
                <a:ext cx="165100" cy="468313"/>
              </a:xfrm>
              <a:custGeom>
                <a:avLst/>
                <a:gdLst>
                  <a:gd name="T0" fmla="*/ 2 w 65"/>
                  <a:gd name="T1" fmla="*/ 12 h 184"/>
                  <a:gd name="T2" fmla="*/ 8 w 65"/>
                  <a:gd name="T3" fmla="*/ 1 h 184"/>
                  <a:gd name="T4" fmla="*/ 8 w 65"/>
                  <a:gd name="T5" fmla="*/ 1 h 184"/>
                  <a:gd name="T6" fmla="*/ 19 w 65"/>
                  <a:gd name="T7" fmla="*/ 7 h 184"/>
                  <a:gd name="T8" fmla="*/ 63 w 65"/>
                  <a:gd name="T9" fmla="*/ 172 h 184"/>
                  <a:gd name="T10" fmla="*/ 57 w 65"/>
                  <a:gd name="T11" fmla="*/ 183 h 184"/>
                  <a:gd name="T12" fmla="*/ 57 w 65"/>
                  <a:gd name="T13" fmla="*/ 183 h 184"/>
                  <a:gd name="T14" fmla="*/ 46 w 65"/>
                  <a:gd name="T15" fmla="*/ 176 h 184"/>
                  <a:gd name="T16" fmla="*/ 2 w 65"/>
                  <a:gd name="T17" fmla="*/ 1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184">
                    <a:moveTo>
                      <a:pt x="2" y="12"/>
                    </a:moveTo>
                    <a:cubicBezTo>
                      <a:pt x="0" y="5"/>
                      <a:pt x="3" y="2"/>
                      <a:pt x="8" y="1"/>
                    </a:cubicBezTo>
                    <a:cubicBezTo>
                      <a:pt x="8" y="1"/>
                      <a:pt x="8" y="1"/>
                      <a:pt x="8" y="1"/>
                    </a:cubicBezTo>
                    <a:cubicBezTo>
                      <a:pt x="13" y="0"/>
                      <a:pt x="17" y="1"/>
                      <a:pt x="19" y="7"/>
                    </a:cubicBezTo>
                    <a:cubicBezTo>
                      <a:pt x="63" y="172"/>
                      <a:pt x="63" y="172"/>
                      <a:pt x="63" y="172"/>
                    </a:cubicBezTo>
                    <a:cubicBezTo>
                      <a:pt x="65" y="178"/>
                      <a:pt x="62" y="181"/>
                      <a:pt x="57" y="183"/>
                    </a:cubicBezTo>
                    <a:cubicBezTo>
                      <a:pt x="57" y="183"/>
                      <a:pt x="57" y="183"/>
                      <a:pt x="57" y="183"/>
                    </a:cubicBezTo>
                    <a:cubicBezTo>
                      <a:pt x="52" y="184"/>
                      <a:pt x="48" y="183"/>
                      <a:pt x="46" y="176"/>
                    </a:cubicBezTo>
                    <a:lnTo>
                      <a:pt x="2" y="12"/>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43" name="Freeform 23"/>
              <p:cNvSpPr>
                <a:spLocks/>
              </p:cNvSpPr>
              <p:nvPr/>
            </p:nvSpPr>
            <p:spPr bwMode="auto">
              <a:xfrm>
                <a:off x="7169150" y="3673475"/>
                <a:ext cx="241300" cy="446088"/>
              </a:xfrm>
              <a:custGeom>
                <a:avLst/>
                <a:gdLst>
                  <a:gd name="T0" fmla="*/ 75 w 95"/>
                  <a:gd name="T1" fmla="*/ 7 h 175"/>
                  <a:gd name="T2" fmla="*/ 87 w 95"/>
                  <a:gd name="T3" fmla="*/ 3 h 175"/>
                  <a:gd name="T4" fmla="*/ 87 w 95"/>
                  <a:gd name="T5" fmla="*/ 3 h 175"/>
                  <a:gd name="T6" fmla="*/ 92 w 95"/>
                  <a:gd name="T7" fmla="*/ 15 h 175"/>
                  <a:gd name="T8" fmla="*/ 20 w 95"/>
                  <a:gd name="T9" fmla="*/ 169 h 175"/>
                  <a:gd name="T10" fmla="*/ 8 w 95"/>
                  <a:gd name="T11" fmla="*/ 173 h 175"/>
                  <a:gd name="T12" fmla="*/ 8 w 95"/>
                  <a:gd name="T13" fmla="*/ 173 h 175"/>
                  <a:gd name="T14" fmla="*/ 3 w 95"/>
                  <a:gd name="T15" fmla="*/ 161 h 175"/>
                  <a:gd name="T16" fmla="*/ 75 w 95"/>
                  <a:gd name="T17" fmla="*/ 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175">
                    <a:moveTo>
                      <a:pt x="75" y="7"/>
                    </a:moveTo>
                    <a:cubicBezTo>
                      <a:pt x="78" y="1"/>
                      <a:pt x="83" y="0"/>
                      <a:pt x="87" y="3"/>
                    </a:cubicBezTo>
                    <a:cubicBezTo>
                      <a:pt x="87" y="3"/>
                      <a:pt x="87" y="3"/>
                      <a:pt x="87" y="3"/>
                    </a:cubicBezTo>
                    <a:cubicBezTo>
                      <a:pt x="92" y="5"/>
                      <a:pt x="95" y="8"/>
                      <a:pt x="92" y="15"/>
                    </a:cubicBezTo>
                    <a:cubicBezTo>
                      <a:pt x="20" y="169"/>
                      <a:pt x="20" y="169"/>
                      <a:pt x="20" y="169"/>
                    </a:cubicBezTo>
                    <a:cubicBezTo>
                      <a:pt x="17" y="175"/>
                      <a:pt x="12" y="175"/>
                      <a:pt x="8" y="173"/>
                    </a:cubicBezTo>
                    <a:cubicBezTo>
                      <a:pt x="8" y="173"/>
                      <a:pt x="8" y="173"/>
                      <a:pt x="8" y="173"/>
                    </a:cubicBezTo>
                    <a:cubicBezTo>
                      <a:pt x="3" y="171"/>
                      <a:pt x="0" y="167"/>
                      <a:pt x="3" y="161"/>
                    </a:cubicBezTo>
                    <a:lnTo>
                      <a:pt x="75" y="7"/>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44" name="Freeform 24"/>
              <p:cNvSpPr>
                <a:spLocks/>
              </p:cNvSpPr>
              <p:nvPr/>
            </p:nvSpPr>
            <p:spPr bwMode="auto">
              <a:xfrm>
                <a:off x="7067550" y="3778250"/>
                <a:ext cx="444500" cy="239713"/>
              </a:xfrm>
              <a:custGeom>
                <a:avLst/>
                <a:gdLst>
                  <a:gd name="T0" fmla="*/ 161 w 175"/>
                  <a:gd name="T1" fmla="*/ 3 h 94"/>
                  <a:gd name="T2" fmla="*/ 173 w 175"/>
                  <a:gd name="T3" fmla="*/ 7 h 94"/>
                  <a:gd name="T4" fmla="*/ 173 w 175"/>
                  <a:gd name="T5" fmla="*/ 7 h 94"/>
                  <a:gd name="T6" fmla="*/ 168 w 175"/>
                  <a:gd name="T7" fmla="*/ 19 h 94"/>
                  <a:gd name="T8" fmla="*/ 14 w 175"/>
                  <a:gd name="T9" fmla="*/ 91 h 94"/>
                  <a:gd name="T10" fmla="*/ 2 w 175"/>
                  <a:gd name="T11" fmla="*/ 86 h 94"/>
                  <a:gd name="T12" fmla="*/ 2 w 175"/>
                  <a:gd name="T13" fmla="*/ 86 h 94"/>
                  <a:gd name="T14" fmla="*/ 7 w 175"/>
                  <a:gd name="T15" fmla="*/ 74 h 94"/>
                  <a:gd name="T16" fmla="*/ 161 w 175"/>
                  <a:gd name="T17" fmla="*/ 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94">
                    <a:moveTo>
                      <a:pt x="161" y="3"/>
                    </a:moveTo>
                    <a:cubicBezTo>
                      <a:pt x="167" y="0"/>
                      <a:pt x="171" y="2"/>
                      <a:pt x="173" y="7"/>
                    </a:cubicBezTo>
                    <a:cubicBezTo>
                      <a:pt x="173" y="7"/>
                      <a:pt x="173" y="7"/>
                      <a:pt x="173" y="7"/>
                    </a:cubicBezTo>
                    <a:cubicBezTo>
                      <a:pt x="175" y="12"/>
                      <a:pt x="175" y="16"/>
                      <a:pt x="168" y="19"/>
                    </a:cubicBezTo>
                    <a:cubicBezTo>
                      <a:pt x="14" y="91"/>
                      <a:pt x="14" y="91"/>
                      <a:pt x="14" y="91"/>
                    </a:cubicBezTo>
                    <a:cubicBezTo>
                      <a:pt x="8" y="94"/>
                      <a:pt x="4" y="91"/>
                      <a:pt x="2" y="86"/>
                    </a:cubicBezTo>
                    <a:cubicBezTo>
                      <a:pt x="2" y="86"/>
                      <a:pt x="2" y="86"/>
                      <a:pt x="2" y="86"/>
                    </a:cubicBezTo>
                    <a:cubicBezTo>
                      <a:pt x="0" y="82"/>
                      <a:pt x="0" y="77"/>
                      <a:pt x="7" y="74"/>
                    </a:cubicBezTo>
                    <a:lnTo>
                      <a:pt x="161" y="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45" name="Freeform 25"/>
              <p:cNvSpPr>
                <a:spLocks/>
              </p:cNvSpPr>
              <p:nvPr/>
            </p:nvSpPr>
            <p:spPr bwMode="auto">
              <a:xfrm>
                <a:off x="7054850" y="3813175"/>
                <a:ext cx="469900" cy="166688"/>
              </a:xfrm>
              <a:custGeom>
                <a:avLst/>
                <a:gdLst>
                  <a:gd name="T0" fmla="*/ 177 w 185"/>
                  <a:gd name="T1" fmla="*/ 46 h 65"/>
                  <a:gd name="T2" fmla="*/ 183 w 185"/>
                  <a:gd name="T3" fmla="*/ 57 h 65"/>
                  <a:gd name="T4" fmla="*/ 183 w 185"/>
                  <a:gd name="T5" fmla="*/ 57 h 65"/>
                  <a:gd name="T6" fmla="*/ 172 w 185"/>
                  <a:gd name="T7" fmla="*/ 63 h 65"/>
                  <a:gd name="T8" fmla="*/ 8 w 185"/>
                  <a:gd name="T9" fmla="*/ 19 h 65"/>
                  <a:gd name="T10" fmla="*/ 2 w 185"/>
                  <a:gd name="T11" fmla="*/ 8 h 65"/>
                  <a:gd name="T12" fmla="*/ 2 w 185"/>
                  <a:gd name="T13" fmla="*/ 8 h 65"/>
                  <a:gd name="T14" fmla="*/ 13 w 185"/>
                  <a:gd name="T15" fmla="*/ 2 h 65"/>
                  <a:gd name="T16" fmla="*/ 177 w 185"/>
                  <a:gd name="T17"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65">
                    <a:moveTo>
                      <a:pt x="177" y="46"/>
                    </a:moveTo>
                    <a:cubicBezTo>
                      <a:pt x="184" y="48"/>
                      <a:pt x="185" y="52"/>
                      <a:pt x="183" y="57"/>
                    </a:cubicBezTo>
                    <a:cubicBezTo>
                      <a:pt x="183" y="57"/>
                      <a:pt x="183" y="57"/>
                      <a:pt x="183" y="57"/>
                    </a:cubicBezTo>
                    <a:cubicBezTo>
                      <a:pt x="182" y="62"/>
                      <a:pt x="179" y="65"/>
                      <a:pt x="172" y="63"/>
                    </a:cubicBezTo>
                    <a:cubicBezTo>
                      <a:pt x="8" y="19"/>
                      <a:pt x="8" y="19"/>
                      <a:pt x="8" y="19"/>
                    </a:cubicBezTo>
                    <a:cubicBezTo>
                      <a:pt x="1" y="18"/>
                      <a:pt x="0" y="13"/>
                      <a:pt x="2" y="8"/>
                    </a:cubicBezTo>
                    <a:cubicBezTo>
                      <a:pt x="2" y="8"/>
                      <a:pt x="2" y="8"/>
                      <a:pt x="2" y="8"/>
                    </a:cubicBezTo>
                    <a:cubicBezTo>
                      <a:pt x="3" y="4"/>
                      <a:pt x="6" y="0"/>
                      <a:pt x="13" y="2"/>
                    </a:cubicBezTo>
                    <a:lnTo>
                      <a:pt x="177" y="46"/>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46" name="Freeform 26"/>
              <p:cNvSpPr>
                <a:spLocks/>
              </p:cNvSpPr>
              <p:nvPr/>
            </p:nvSpPr>
            <p:spPr bwMode="auto">
              <a:xfrm>
                <a:off x="7135813" y="3690938"/>
                <a:ext cx="307975" cy="411163"/>
              </a:xfrm>
              <a:custGeom>
                <a:avLst/>
                <a:gdLst>
                  <a:gd name="T0" fmla="*/ 117 w 121"/>
                  <a:gd name="T1" fmla="*/ 145 h 161"/>
                  <a:gd name="T2" fmla="*/ 114 w 121"/>
                  <a:gd name="T3" fmla="*/ 158 h 161"/>
                  <a:gd name="T4" fmla="*/ 114 w 121"/>
                  <a:gd name="T5" fmla="*/ 158 h 161"/>
                  <a:gd name="T6" fmla="*/ 102 w 121"/>
                  <a:gd name="T7" fmla="*/ 156 h 161"/>
                  <a:gd name="T8" fmla="*/ 4 w 121"/>
                  <a:gd name="T9" fmla="*/ 16 h 161"/>
                  <a:gd name="T10" fmla="*/ 7 w 121"/>
                  <a:gd name="T11" fmla="*/ 4 h 161"/>
                  <a:gd name="T12" fmla="*/ 7 w 121"/>
                  <a:gd name="T13" fmla="*/ 4 h 161"/>
                  <a:gd name="T14" fmla="*/ 19 w 121"/>
                  <a:gd name="T15" fmla="*/ 6 h 161"/>
                  <a:gd name="T16" fmla="*/ 117 w 121"/>
                  <a:gd name="T17" fmla="*/ 14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161">
                    <a:moveTo>
                      <a:pt x="117" y="145"/>
                    </a:moveTo>
                    <a:cubicBezTo>
                      <a:pt x="121" y="151"/>
                      <a:pt x="119" y="155"/>
                      <a:pt x="114" y="158"/>
                    </a:cubicBezTo>
                    <a:cubicBezTo>
                      <a:pt x="114" y="158"/>
                      <a:pt x="114" y="158"/>
                      <a:pt x="114" y="158"/>
                    </a:cubicBezTo>
                    <a:cubicBezTo>
                      <a:pt x="110" y="161"/>
                      <a:pt x="106" y="161"/>
                      <a:pt x="102" y="156"/>
                    </a:cubicBezTo>
                    <a:cubicBezTo>
                      <a:pt x="4" y="16"/>
                      <a:pt x="4" y="16"/>
                      <a:pt x="4" y="16"/>
                    </a:cubicBezTo>
                    <a:cubicBezTo>
                      <a:pt x="0" y="11"/>
                      <a:pt x="2" y="7"/>
                      <a:pt x="7" y="4"/>
                    </a:cubicBezTo>
                    <a:cubicBezTo>
                      <a:pt x="7" y="4"/>
                      <a:pt x="7" y="4"/>
                      <a:pt x="7" y="4"/>
                    </a:cubicBezTo>
                    <a:cubicBezTo>
                      <a:pt x="11" y="1"/>
                      <a:pt x="15" y="0"/>
                      <a:pt x="19" y="6"/>
                    </a:cubicBezTo>
                    <a:lnTo>
                      <a:pt x="117" y="14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47" name="Freeform 27"/>
              <p:cNvSpPr>
                <a:spLocks/>
              </p:cNvSpPr>
              <p:nvPr/>
            </p:nvSpPr>
            <p:spPr bwMode="auto">
              <a:xfrm>
                <a:off x="7245350" y="3657600"/>
                <a:ext cx="88900" cy="481013"/>
              </a:xfrm>
              <a:custGeom>
                <a:avLst/>
                <a:gdLst>
                  <a:gd name="T0" fmla="*/ 19 w 35"/>
                  <a:gd name="T1" fmla="*/ 179 h 188"/>
                  <a:gd name="T2" fmla="*/ 9 w 35"/>
                  <a:gd name="T3" fmla="*/ 187 h 188"/>
                  <a:gd name="T4" fmla="*/ 9 w 35"/>
                  <a:gd name="T5" fmla="*/ 187 h 188"/>
                  <a:gd name="T6" fmla="*/ 1 w 35"/>
                  <a:gd name="T7" fmla="*/ 178 h 188"/>
                  <a:gd name="T8" fmla="*/ 16 w 35"/>
                  <a:gd name="T9" fmla="*/ 8 h 188"/>
                  <a:gd name="T10" fmla="*/ 26 w 35"/>
                  <a:gd name="T11" fmla="*/ 0 h 188"/>
                  <a:gd name="T12" fmla="*/ 26 w 35"/>
                  <a:gd name="T13" fmla="*/ 0 h 188"/>
                  <a:gd name="T14" fmla="*/ 34 w 35"/>
                  <a:gd name="T15" fmla="*/ 10 h 188"/>
                  <a:gd name="T16" fmla="*/ 19 w 35"/>
                  <a:gd name="T17" fmla="*/ 17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188">
                    <a:moveTo>
                      <a:pt x="19" y="179"/>
                    </a:moveTo>
                    <a:cubicBezTo>
                      <a:pt x="18" y="186"/>
                      <a:pt x="14" y="188"/>
                      <a:pt x="9" y="187"/>
                    </a:cubicBezTo>
                    <a:cubicBezTo>
                      <a:pt x="9" y="187"/>
                      <a:pt x="9" y="187"/>
                      <a:pt x="9" y="187"/>
                    </a:cubicBezTo>
                    <a:cubicBezTo>
                      <a:pt x="4" y="187"/>
                      <a:pt x="0" y="185"/>
                      <a:pt x="1" y="178"/>
                    </a:cubicBezTo>
                    <a:cubicBezTo>
                      <a:pt x="16" y="8"/>
                      <a:pt x="16" y="8"/>
                      <a:pt x="16" y="8"/>
                    </a:cubicBezTo>
                    <a:cubicBezTo>
                      <a:pt x="17" y="1"/>
                      <a:pt x="21" y="0"/>
                      <a:pt x="26" y="0"/>
                    </a:cubicBezTo>
                    <a:cubicBezTo>
                      <a:pt x="26" y="0"/>
                      <a:pt x="26" y="0"/>
                      <a:pt x="26" y="0"/>
                    </a:cubicBezTo>
                    <a:cubicBezTo>
                      <a:pt x="31" y="0"/>
                      <a:pt x="35" y="3"/>
                      <a:pt x="34" y="10"/>
                    </a:cubicBezTo>
                    <a:lnTo>
                      <a:pt x="19" y="17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48" name="Freeform 28"/>
              <p:cNvSpPr>
                <a:spLocks/>
              </p:cNvSpPr>
              <p:nvPr/>
            </p:nvSpPr>
            <p:spPr bwMode="auto">
              <a:xfrm>
                <a:off x="7107238" y="3714750"/>
                <a:ext cx="365125" cy="365125"/>
              </a:xfrm>
              <a:custGeom>
                <a:avLst/>
                <a:gdLst>
                  <a:gd name="T0" fmla="*/ 18 w 143"/>
                  <a:gd name="T1" fmla="*/ 138 h 143"/>
                  <a:gd name="T2" fmla="*/ 5 w 143"/>
                  <a:gd name="T3" fmla="*/ 138 h 143"/>
                  <a:gd name="T4" fmla="*/ 5 w 143"/>
                  <a:gd name="T5" fmla="*/ 138 h 143"/>
                  <a:gd name="T6" fmla="*/ 5 w 143"/>
                  <a:gd name="T7" fmla="*/ 125 h 143"/>
                  <a:gd name="T8" fmla="*/ 125 w 143"/>
                  <a:gd name="T9" fmla="*/ 5 h 143"/>
                  <a:gd name="T10" fmla="*/ 138 w 143"/>
                  <a:gd name="T11" fmla="*/ 5 h 143"/>
                  <a:gd name="T12" fmla="*/ 138 w 143"/>
                  <a:gd name="T13" fmla="*/ 5 h 143"/>
                  <a:gd name="T14" fmla="*/ 138 w 143"/>
                  <a:gd name="T15" fmla="*/ 18 h 143"/>
                  <a:gd name="T16" fmla="*/ 18 w 143"/>
                  <a:gd name="T17" fmla="*/ 13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43">
                    <a:moveTo>
                      <a:pt x="18" y="138"/>
                    </a:moveTo>
                    <a:cubicBezTo>
                      <a:pt x="13" y="143"/>
                      <a:pt x="9" y="142"/>
                      <a:pt x="5" y="138"/>
                    </a:cubicBezTo>
                    <a:cubicBezTo>
                      <a:pt x="5" y="138"/>
                      <a:pt x="5" y="138"/>
                      <a:pt x="5" y="138"/>
                    </a:cubicBezTo>
                    <a:cubicBezTo>
                      <a:pt x="1" y="135"/>
                      <a:pt x="0" y="130"/>
                      <a:pt x="5" y="125"/>
                    </a:cubicBezTo>
                    <a:cubicBezTo>
                      <a:pt x="125" y="5"/>
                      <a:pt x="125" y="5"/>
                      <a:pt x="125" y="5"/>
                    </a:cubicBezTo>
                    <a:cubicBezTo>
                      <a:pt x="130" y="0"/>
                      <a:pt x="134" y="2"/>
                      <a:pt x="138" y="5"/>
                    </a:cubicBezTo>
                    <a:cubicBezTo>
                      <a:pt x="138" y="5"/>
                      <a:pt x="138" y="5"/>
                      <a:pt x="138" y="5"/>
                    </a:cubicBezTo>
                    <a:cubicBezTo>
                      <a:pt x="142" y="9"/>
                      <a:pt x="143" y="13"/>
                      <a:pt x="138" y="18"/>
                    </a:cubicBezTo>
                    <a:lnTo>
                      <a:pt x="18" y="138"/>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49" name="Freeform 29"/>
              <p:cNvSpPr>
                <a:spLocks/>
              </p:cNvSpPr>
              <p:nvPr/>
            </p:nvSpPr>
            <p:spPr bwMode="auto">
              <a:xfrm>
                <a:off x="7059613" y="3665538"/>
                <a:ext cx="460375" cy="461963"/>
              </a:xfrm>
              <a:custGeom>
                <a:avLst/>
                <a:gdLst>
                  <a:gd name="T0" fmla="*/ 149 w 181"/>
                  <a:gd name="T1" fmla="*/ 149 h 181"/>
                  <a:gd name="T2" fmla="*/ 32 w 181"/>
                  <a:gd name="T3" fmla="*/ 149 h 181"/>
                  <a:gd name="T4" fmla="*/ 32 w 181"/>
                  <a:gd name="T5" fmla="*/ 32 h 181"/>
                  <a:gd name="T6" fmla="*/ 149 w 181"/>
                  <a:gd name="T7" fmla="*/ 32 h 181"/>
                  <a:gd name="T8" fmla="*/ 149 w 181"/>
                  <a:gd name="T9" fmla="*/ 149 h 181"/>
                </a:gdLst>
                <a:ahLst/>
                <a:cxnLst>
                  <a:cxn ang="0">
                    <a:pos x="T0" y="T1"/>
                  </a:cxn>
                  <a:cxn ang="0">
                    <a:pos x="T2" y="T3"/>
                  </a:cxn>
                  <a:cxn ang="0">
                    <a:pos x="T4" y="T5"/>
                  </a:cxn>
                  <a:cxn ang="0">
                    <a:pos x="T6" y="T7"/>
                  </a:cxn>
                  <a:cxn ang="0">
                    <a:pos x="T8" y="T9"/>
                  </a:cxn>
                </a:cxnLst>
                <a:rect l="0" t="0" r="r" b="b"/>
                <a:pathLst>
                  <a:path w="181" h="181">
                    <a:moveTo>
                      <a:pt x="149" y="149"/>
                    </a:moveTo>
                    <a:cubicBezTo>
                      <a:pt x="117" y="181"/>
                      <a:pt x="64" y="181"/>
                      <a:pt x="32" y="149"/>
                    </a:cubicBezTo>
                    <a:cubicBezTo>
                      <a:pt x="0" y="117"/>
                      <a:pt x="0" y="65"/>
                      <a:pt x="32" y="32"/>
                    </a:cubicBezTo>
                    <a:cubicBezTo>
                      <a:pt x="64" y="0"/>
                      <a:pt x="117" y="0"/>
                      <a:pt x="149" y="32"/>
                    </a:cubicBezTo>
                    <a:cubicBezTo>
                      <a:pt x="181" y="65"/>
                      <a:pt x="181" y="117"/>
                      <a:pt x="149" y="149"/>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grpSp>
        <p:grpSp>
          <p:nvGrpSpPr>
            <p:cNvPr id="62" name="Group 61"/>
            <p:cNvGrpSpPr>
              <a:grpSpLocks noChangeAspect="1"/>
            </p:cNvGrpSpPr>
            <p:nvPr/>
          </p:nvGrpSpPr>
          <p:grpSpPr>
            <a:xfrm>
              <a:off x="7044797" y="3129984"/>
              <a:ext cx="486529" cy="486529"/>
              <a:chOff x="6680200" y="3740150"/>
              <a:chExt cx="315913" cy="315913"/>
            </a:xfrm>
          </p:grpSpPr>
          <p:sp>
            <p:nvSpPr>
              <p:cNvPr id="50" name="Freeform 30"/>
              <p:cNvSpPr>
                <a:spLocks/>
              </p:cNvSpPr>
              <p:nvPr/>
            </p:nvSpPr>
            <p:spPr bwMode="auto">
              <a:xfrm>
                <a:off x="6680200" y="3870325"/>
                <a:ext cx="315913" cy="55563"/>
              </a:xfrm>
              <a:custGeom>
                <a:avLst/>
                <a:gdLst>
                  <a:gd name="T0" fmla="*/ 7 w 124"/>
                  <a:gd name="T1" fmla="*/ 22 h 22"/>
                  <a:gd name="T2" fmla="*/ 0 w 124"/>
                  <a:gd name="T3" fmla="*/ 16 h 22"/>
                  <a:gd name="T4" fmla="*/ 0 w 124"/>
                  <a:gd name="T5" fmla="*/ 16 h 22"/>
                  <a:gd name="T6" fmla="*/ 6 w 124"/>
                  <a:gd name="T7" fmla="*/ 10 h 22"/>
                  <a:gd name="T8" fmla="*/ 117 w 124"/>
                  <a:gd name="T9" fmla="*/ 0 h 22"/>
                  <a:gd name="T10" fmla="*/ 124 w 124"/>
                  <a:gd name="T11" fmla="*/ 5 h 22"/>
                  <a:gd name="T12" fmla="*/ 124 w 124"/>
                  <a:gd name="T13" fmla="*/ 5 h 22"/>
                  <a:gd name="T14" fmla="*/ 118 w 124"/>
                  <a:gd name="T15" fmla="*/ 12 h 22"/>
                  <a:gd name="T16" fmla="*/ 7 w 124"/>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22">
                    <a:moveTo>
                      <a:pt x="7" y="22"/>
                    </a:moveTo>
                    <a:cubicBezTo>
                      <a:pt x="2" y="22"/>
                      <a:pt x="0" y="19"/>
                      <a:pt x="0" y="16"/>
                    </a:cubicBezTo>
                    <a:cubicBezTo>
                      <a:pt x="0" y="16"/>
                      <a:pt x="0" y="16"/>
                      <a:pt x="0" y="16"/>
                    </a:cubicBezTo>
                    <a:cubicBezTo>
                      <a:pt x="0" y="13"/>
                      <a:pt x="1" y="10"/>
                      <a:pt x="6" y="10"/>
                    </a:cubicBezTo>
                    <a:cubicBezTo>
                      <a:pt x="117" y="0"/>
                      <a:pt x="117" y="0"/>
                      <a:pt x="117" y="0"/>
                    </a:cubicBezTo>
                    <a:cubicBezTo>
                      <a:pt x="122" y="0"/>
                      <a:pt x="123" y="2"/>
                      <a:pt x="124" y="5"/>
                    </a:cubicBezTo>
                    <a:cubicBezTo>
                      <a:pt x="124" y="5"/>
                      <a:pt x="124" y="5"/>
                      <a:pt x="124" y="5"/>
                    </a:cubicBezTo>
                    <a:cubicBezTo>
                      <a:pt x="124" y="9"/>
                      <a:pt x="123" y="11"/>
                      <a:pt x="118" y="12"/>
                    </a:cubicBezTo>
                    <a:lnTo>
                      <a:pt x="7" y="2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51" name="Freeform 31"/>
              <p:cNvSpPr>
                <a:spLocks/>
              </p:cNvSpPr>
              <p:nvPr/>
            </p:nvSpPr>
            <p:spPr bwMode="auto">
              <a:xfrm>
                <a:off x="6702425" y="3795713"/>
                <a:ext cx="269875" cy="201613"/>
              </a:xfrm>
              <a:custGeom>
                <a:avLst/>
                <a:gdLst>
                  <a:gd name="T0" fmla="*/ 4 w 106"/>
                  <a:gd name="T1" fmla="*/ 12 h 79"/>
                  <a:gd name="T2" fmla="*/ 2 w 106"/>
                  <a:gd name="T3" fmla="*/ 4 h 79"/>
                  <a:gd name="T4" fmla="*/ 2 w 106"/>
                  <a:gd name="T5" fmla="*/ 4 h 79"/>
                  <a:gd name="T6" fmla="*/ 10 w 106"/>
                  <a:gd name="T7" fmla="*/ 3 h 79"/>
                  <a:gd name="T8" fmla="*/ 102 w 106"/>
                  <a:gd name="T9" fmla="*/ 67 h 79"/>
                  <a:gd name="T10" fmla="*/ 104 w 106"/>
                  <a:gd name="T11" fmla="*/ 75 h 79"/>
                  <a:gd name="T12" fmla="*/ 104 w 106"/>
                  <a:gd name="T13" fmla="*/ 75 h 79"/>
                  <a:gd name="T14" fmla="*/ 95 w 106"/>
                  <a:gd name="T15" fmla="*/ 77 h 79"/>
                  <a:gd name="T16" fmla="*/ 4 w 106"/>
                  <a:gd name="T17" fmla="*/ 1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79">
                    <a:moveTo>
                      <a:pt x="4" y="12"/>
                    </a:moveTo>
                    <a:cubicBezTo>
                      <a:pt x="0" y="10"/>
                      <a:pt x="0" y="7"/>
                      <a:pt x="2" y="4"/>
                    </a:cubicBezTo>
                    <a:cubicBezTo>
                      <a:pt x="2" y="4"/>
                      <a:pt x="2" y="4"/>
                      <a:pt x="2" y="4"/>
                    </a:cubicBezTo>
                    <a:cubicBezTo>
                      <a:pt x="4" y="2"/>
                      <a:pt x="7" y="0"/>
                      <a:pt x="10" y="3"/>
                    </a:cubicBezTo>
                    <a:cubicBezTo>
                      <a:pt x="102" y="67"/>
                      <a:pt x="102" y="67"/>
                      <a:pt x="102" y="67"/>
                    </a:cubicBezTo>
                    <a:cubicBezTo>
                      <a:pt x="106" y="70"/>
                      <a:pt x="105" y="73"/>
                      <a:pt x="104" y="75"/>
                    </a:cubicBezTo>
                    <a:cubicBezTo>
                      <a:pt x="104" y="75"/>
                      <a:pt x="104" y="75"/>
                      <a:pt x="104" y="75"/>
                    </a:cubicBezTo>
                    <a:cubicBezTo>
                      <a:pt x="102" y="78"/>
                      <a:pt x="99" y="79"/>
                      <a:pt x="95" y="77"/>
                    </a:cubicBezTo>
                    <a:lnTo>
                      <a:pt x="4" y="1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52" name="Freeform 32"/>
              <p:cNvSpPr>
                <a:spLocks/>
              </p:cNvSpPr>
              <p:nvPr/>
            </p:nvSpPr>
            <p:spPr bwMode="auto">
              <a:xfrm>
                <a:off x="6781800" y="3741738"/>
                <a:ext cx="109538" cy="309563"/>
              </a:xfrm>
              <a:custGeom>
                <a:avLst/>
                <a:gdLst>
                  <a:gd name="T0" fmla="*/ 2 w 43"/>
                  <a:gd name="T1" fmla="*/ 8 h 121"/>
                  <a:gd name="T2" fmla="*/ 6 w 43"/>
                  <a:gd name="T3" fmla="*/ 1 h 121"/>
                  <a:gd name="T4" fmla="*/ 6 w 43"/>
                  <a:gd name="T5" fmla="*/ 1 h 121"/>
                  <a:gd name="T6" fmla="*/ 13 w 43"/>
                  <a:gd name="T7" fmla="*/ 5 h 121"/>
                  <a:gd name="T8" fmla="*/ 42 w 43"/>
                  <a:gd name="T9" fmla="*/ 113 h 121"/>
                  <a:gd name="T10" fmla="*/ 38 w 43"/>
                  <a:gd name="T11" fmla="*/ 121 h 121"/>
                  <a:gd name="T12" fmla="*/ 38 w 43"/>
                  <a:gd name="T13" fmla="*/ 121 h 121"/>
                  <a:gd name="T14" fmla="*/ 31 w 43"/>
                  <a:gd name="T15" fmla="*/ 116 h 121"/>
                  <a:gd name="T16" fmla="*/ 2 w 43"/>
                  <a:gd name="T17" fmla="*/ 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21">
                    <a:moveTo>
                      <a:pt x="2" y="8"/>
                    </a:moveTo>
                    <a:cubicBezTo>
                      <a:pt x="0" y="4"/>
                      <a:pt x="3" y="2"/>
                      <a:pt x="6" y="1"/>
                    </a:cubicBezTo>
                    <a:cubicBezTo>
                      <a:pt x="6" y="1"/>
                      <a:pt x="6" y="1"/>
                      <a:pt x="6" y="1"/>
                    </a:cubicBezTo>
                    <a:cubicBezTo>
                      <a:pt x="9" y="0"/>
                      <a:pt x="12" y="1"/>
                      <a:pt x="13" y="5"/>
                    </a:cubicBezTo>
                    <a:cubicBezTo>
                      <a:pt x="42" y="113"/>
                      <a:pt x="42" y="113"/>
                      <a:pt x="42" y="113"/>
                    </a:cubicBezTo>
                    <a:cubicBezTo>
                      <a:pt x="43" y="118"/>
                      <a:pt x="41" y="120"/>
                      <a:pt x="38" y="121"/>
                    </a:cubicBezTo>
                    <a:cubicBezTo>
                      <a:pt x="38" y="121"/>
                      <a:pt x="38" y="121"/>
                      <a:pt x="38" y="121"/>
                    </a:cubicBezTo>
                    <a:cubicBezTo>
                      <a:pt x="35" y="121"/>
                      <a:pt x="32" y="121"/>
                      <a:pt x="31" y="116"/>
                    </a:cubicBezTo>
                    <a:lnTo>
                      <a:pt x="2" y="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53" name="Freeform 33"/>
              <p:cNvSpPr>
                <a:spLocks/>
              </p:cNvSpPr>
              <p:nvPr/>
            </p:nvSpPr>
            <p:spPr bwMode="auto">
              <a:xfrm>
                <a:off x="6759575" y="3749675"/>
                <a:ext cx="157163" cy="293688"/>
              </a:xfrm>
              <a:custGeom>
                <a:avLst/>
                <a:gdLst>
                  <a:gd name="T0" fmla="*/ 49 w 62"/>
                  <a:gd name="T1" fmla="*/ 4 h 115"/>
                  <a:gd name="T2" fmla="*/ 57 w 62"/>
                  <a:gd name="T3" fmla="*/ 2 h 115"/>
                  <a:gd name="T4" fmla="*/ 57 w 62"/>
                  <a:gd name="T5" fmla="*/ 2 h 115"/>
                  <a:gd name="T6" fmla="*/ 60 w 62"/>
                  <a:gd name="T7" fmla="*/ 10 h 115"/>
                  <a:gd name="T8" fmla="*/ 13 w 62"/>
                  <a:gd name="T9" fmla="*/ 111 h 115"/>
                  <a:gd name="T10" fmla="*/ 5 w 62"/>
                  <a:gd name="T11" fmla="*/ 114 h 115"/>
                  <a:gd name="T12" fmla="*/ 5 w 62"/>
                  <a:gd name="T13" fmla="*/ 114 h 115"/>
                  <a:gd name="T14" fmla="*/ 2 w 62"/>
                  <a:gd name="T15" fmla="*/ 106 h 115"/>
                  <a:gd name="T16" fmla="*/ 49 w 62"/>
                  <a:gd name="T17" fmla="*/ 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15">
                    <a:moveTo>
                      <a:pt x="49" y="4"/>
                    </a:moveTo>
                    <a:cubicBezTo>
                      <a:pt x="51" y="0"/>
                      <a:pt x="54" y="0"/>
                      <a:pt x="57" y="2"/>
                    </a:cubicBezTo>
                    <a:cubicBezTo>
                      <a:pt x="57" y="2"/>
                      <a:pt x="57" y="2"/>
                      <a:pt x="57" y="2"/>
                    </a:cubicBezTo>
                    <a:cubicBezTo>
                      <a:pt x="60" y="3"/>
                      <a:pt x="62" y="5"/>
                      <a:pt x="60" y="10"/>
                    </a:cubicBezTo>
                    <a:cubicBezTo>
                      <a:pt x="13" y="111"/>
                      <a:pt x="13" y="111"/>
                      <a:pt x="13" y="111"/>
                    </a:cubicBezTo>
                    <a:cubicBezTo>
                      <a:pt x="11" y="115"/>
                      <a:pt x="8" y="115"/>
                      <a:pt x="5" y="114"/>
                    </a:cubicBezTo>
                    <a:cubicBezTo>
                      <a:pt x="5" y="114"/>
                      <a:pt x="5" y="114"/>
                      <a:pt x="5" y="114"/>
                    </a:cubicBezTo>
                    <a:cubicBezTo>
                      <a:pt x="2" y="112"/>
                      <a:pt x="0" y="110"/>
                      <a:pt x="2" y="106"/>
                    </a:cubicBezTo>
                    <a:lnTo>
                      <a:pt x="49"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54" name="Freeform 34"/>
              <p:cNvSpPr>
                <a:spLocks/>
              </p:cNvSpPr>
              <p:nvPr/>
            </p:nvSpPr>
            <p:spPr bwMode="auto">
              <a:xfrm>
                <a:off x="6689725" y="3819525"/>
                <a:ext cx="293688" cy="157163"/>
              </a:xfrm>
              <a:custGeom>
                <a:avLst/>
                <a:gdLst>
                  <a:gd name="T0" fmla="*/ 106 w 115"/>
                  <a:gd name="T1" fmla="*/ 2 h 62"/>
                  <a:gd name="T2" fmla="*/ 114 w 115"/>
                  <a:gd name="T3" fmla="*/ 5 h 62"/>
                  <a:gd name="T4" fmla="*/ 114 w 115"/>
                  <a:gd name="T5" fmla="*/ 5 h 62"/>
                  <a:gd name="T6" fmla="*/ 111 w 115"/>
                  <a:gd name="T7" fmla="*/ 12 h 62"/>
                  <a:gd name="T8" fmla="*/ 10 w 115"/>
                  <a:gd name="T9" fmla="*/ 60 h 62"/>
                  <a:gd name="T10" fmla="*/ 2 w 115"/>
                  <a:gd name="T11" fmla="*/ 57 h 62"/>
                  <a:gd name="T12" fmla="*/ 2 w 115"/>
                  <a:gd name="T13" fmla="*/ 57 h 62"/>
                  <a:gd name="T14" fmla="*/ 5 w 115"/>
                  <a:gd name="T15" fmla="*/ 49 h 62"/>
                  <a:gd name="T16" fmla="*/ 106 w 115"/>
                  <a:gd name="T17" fmla="*/ 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62">
                    <a:moveTo>
                      <a:pt x="106" y="2"/>
                    </a:moveTo>
                    <a:cubicBezTo>
                      <a:pt x="110" y="0"/>
                      <a:pt x="113" y="2"/>
                      <a:pt x="114" y="5"/>
                    </a:cubicBezTo>
                    <a:cubicBezTo>
                      <a:pt x="114" y="5"/>
                      <a:pt x="114" y="5"/>
                      <a:pt x="114" y="5"/>
                    </a:cubicBezTo>
                    <a:cubicBezTo>
                      <a:pt x="115" y="8"/>
                      <a:pt x="115" y="11"/>
                      <a:pt x="111" y="12"/>
                    </a:cubicBezTo>
                    <a:cubicBezTo>
                      <a:pt x="10" y="60"/>
                      <a:pt x="10" y="60"/>
                      <a:pt x="10" y="60"/>
                    </a:cubicBezTo>
                    <a:cubicBezTo>
                      <a:pt x="5" y="62"/>
                      <a:pt x="3" y="60"/>
                      <a:pt x="2" y="57"/>
                    </a:cubicBezTo>
                    <a:cubicBezTo>
                      <a:pt x="2" y="57"/>
                      <a:pt x="2" y="57"/>
                      <a:pt x="2" y="57"/>
                    </a:cubicBezTo>
                    <a:cubicBezTo>
                      <a:pt x="0" y="54"/>
                      <a:pt x="0" y="51"/>
                      <a:pt x="5" y="49"/>
                    </a:cubicBezTo>
                    <a:lnTo>
                      <a:pt x="106" y="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55" name="Freeform 35"/>
              <p:cNvSpPr>
                <a:spLocks/>
              </p:cNvSpPr>
              <p:nvPr/>
            </p:nvSpPr>
            <p:spPr bwMode="auto">
              <a:xfrm>
                <a:off x="6683375" y="3841750"/>
                <a:ext cx="309563" cy="109538"/>
              </a:xfrm>
              <a:custGeom>
                <a:avLst/>
                <a:gdLst>
                  <a:gd name="T0" fmla="*/ 116 w 122"/>
                  <a:gd name="T1" fmla="*/ 30 h 43"/>
                  <a:gd name="T2" fmla="*/ 121 w 122"/>
                  <a:gd name="T3" fmla="*/ 38 h 43"/>
                  <a:gd name="T4" fmla="*/ 121 w 122"/>
                  <a:gd name="T5" fmla="*/ 38 h 43"/>
                  <a:gd name="T6" fmla="*/ 113 w 122"/>
                  <a:gd name="T7" fmla="*/ 42 h 43"/>
                  <a:gd name="T8" fmla="*/ 5 w 122"/>
                  <a:gd name="T9" fmla="*/ 13 h 43"/>
                  <a:gd name="T10" fmla="*/ 1 w 122"/>
                  <a:gd name="T11" fmla="*/ 6 h 43"/>
                  <a:gd name="T12" fmla="*/ 1 w 122"/>
                  <a:gd name="T13" fmla="*/ 6 h 43"/>
                  <a:gd name="T14" fmla="*/ 8 w 122"/>
                  <a:gd name="T15" fmla="*/ 2 h 43"/>
                  <a:gd name="T16" fmla="*/ 116 w 122"/>
                  <a:gd name="T17" fmla="*/ 3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43">
                    <a:moveTo>
                      <a:pt x="116" y="30"/>
                    </a:moveTo>
                    <a:cubicBezTo>
                      <a:pt x="121" y="32"/>
                      <a:pt x="122" y="35"/>
                      <a:pt x="121" y="38"/>
                    </a:cubicBezTo>
                    <a:cubicBezTo>
                      <a:pt x="121" y="38"/>
                      <a:pt x="121" y="38"/>
                      <a:pt x="121" y="38"/>
                    </a:cubicBezTo>
                    <a:cubicBezTo>
                      <a:pt x="120" y="41"/>
                      <a:pt x="118" y="43"/>
                      <a:pt x="113" y="42"/>
                    </a:cubicBezTo>
                    <a:cubicBezTo>
                      <a:pt x="5" y="13"/>
                      <a:pt x="5" y="13"/>
                      <a:pt x="5" y="13"/>
                    </a:cubicBezTo>
                    <a:cubicBezTo>
                      <a:pt x="1" y="12"/>
                      <a:pt x="0" y="9"/>
                      <a:pt x="1" y="6"/>
                    </a:cubicBezTo>
                    <a:cubicBezTo>
                      <a:pt x="1" y="6"/>
                      <a:pt x="1" y="6"/>
                      <a:pt x="1" y="6"/>
                    </a:cubicBezTo>
                    <a:cubicBezTo>
                      <a:pt x="2" y="3"/>
                      <a:pt x="4" y="0"/>
                      <a:pt x="8" y="2"/>
                    </a:cubicBezTo>
                    <a:lnTo>
                      <a:pt x="116" y="3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56" name="Freeform 36"/>
              <p:cNvSpPr>
                <a:spLocks/>
              </p:cNvSpPr>
              <p:nvPr/>
            </p:nvSpPr>
            <p:spPr bwMode="auto">
              <a:xfrm>
                <a:off x="6735763" y="3762375"/>
                <a:ext cx="201613" cy="271463"/>
              </a:xfrm>
              <a:custGeom>
                <a:avLst/>
                <a:gdLst>
                  <a:gd name="T0" fmla="*/ 77 w 79"/>
                  <a:gd name="T1" fmla="*/ 95 h 106"/>
                  <a:gd name="T2" fmla="*/ 75 w 79"/>
                  <a:gd name="T3" fmla="*/ 103 h 106"/>
                  <a:gd name="T4" fmla="*/ 75 w 79"/>
                  <a:gd name="T5" fmla="*/ 103 h 106"/>
                  <a:gd name="T6" fmla="*/ 67 w 79"/>
                  <a:gd name="T7" fmla="*/ 102 h 106"/>
                  <a:gd name="T8" fmla="*/ 3 w 79"/>
                  <a:gd name="T9" fmla="*/ 10 h 106"/>
                  <a:gd name="T10" fmla="*/ 4 w 79"/>
                  <a:gd name="T11" fmla="*/ 2 h 106"/>
                  <a:gd name="T12" fmla="*/ 4 w 79"/>
                  <a:gd name="T13" fmla="*/ 2 h 106"/>
                  <a:gd name="T14" fmla="*/ 13 w 79"/>
                  <a:gd name="T15" fmla="*/ 3 h 106"/>
                  <a:gd name="T16" fmla="*/ 77 w 79"/>
                  <a:gd name="T17" fmla="*/ 9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106">
                    <a:moveTo>
                      <a:pt x="77" y="95"/>
                    </a:moveTo>
                    <a:cubicBezTo>
                      <a:pt x="79" y="99"/>
                      <a:pt x="78" y="102"/>
                      <a:pt x="75" y="103"/>
                    </a:cubicBezTo>
                    <a:cubicBezTo>
                      <a:pt x="75" y="103"/>
                      <a:pt x="75" y="103"/>
                      <a:pt x="75" y="103"/>
                    </a:cubicBezTo>
                    <a:cubicBezTo>
                      <a:pt x="73" y="105"/>
                      <a:pt x="70" y="106"/>
                      <a:pt x="67" y="102"/>
                    </a:cubicBezTo>
                    <a:cubicBezTo>
                      <a:pt x="3" y="10"/>
                      <a:pt x="3" y="10"/>
                      <a:pt x="3" y="10"/>
                    </a:cubicBezTo>
                    <a:cubicBezTo>
                      <a:pt x="0" y="7"/>
                      <a:pt x="2" y="4"/>
                      <a:pt x="4" y="2"/>
                    </a:cubicBezTo>
                    <a:cubicBezTo>
                      <a:pt x="4" y="2"/>
                      <a:pt x="4" y="2"/>
                      <a:pt x="4" y="2"/>
                    </a:cubicBezTo>
                    <a:cubicBezTo>
                      <a:pt x="7" y="0"/>
                      <a:pt x="10" y="0"/>
                      <a:pt x="13" y="3"/>
                    </a:cubicBezTo>
                    <a:lnTo>
                      <a:pt x="77" y="9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57" name="Freeform 37"/>
              <p:cNvSpPr>
                <a:spLocks/>
              </p:cNvSpPr>
              <p:nvPr/>
            </p:nvSpPr>
            <p:spPr bwMode="auto">
              <a:xfrm>
                <a:off x="6810375" y="3740150"/>
                <a:ext cx="55563" cy="315913"/>
              </a:xfrm>
              <a:custGeom>
                <a:avLst/>
                <a:gdLst>
                  <a:gd name="T0" fmla="*/ 12 w 22"/>
                  <a:gd name="T1" fmla="*/ 118 h 124"/>
                  <a:gd name="T2" fmla="*/ 5 w 22"/>
                  <a:gd name="T3" fmla="*/ 123 h 124"/>
                  <a:gd name="T4" fmla="*/ 5 w 22"/>
                  <a:gd name="T5" fmla="*/ 123 h 124"/>
                  <a:gd name="T6" fmla="*/ 0 w 22"/>
                  <a:gd name="T7" fmla="*/ 117 h 124"/>
                  <a:gd name="T8" fmla="*/ 10 w 22"/>
                  <a:gd name="T9" fmla="*/ 5 h 124"/>
                  <a:gd name="T10" fmla="*/ 16 w 22"/>
                  <a:gd name="T11" fmla="*/ 0 h 124"/>
                  <a:gd name="T12" fmla="*/ 16 w 22"/>
                  <a:gd name="T13" fmla="*/ 0 h 124"/>
                  <a:gd name="T14" fmla="*/ 22 w 22"/>
                  <a:gd name="T15" fmla="*/ 6 h 124"/>
                  <a:gd name="T16" fmla="*/ 12 w 22"/>
                  <a:gd name="T17" fmla="*/ 11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24">
                    <a:moveTo>
                      <a:pt x="12" y="118"/>
                    </a:moveTo>
                    <a:cubicBezTo>
                      <a:pt x="11" y="123"/>
                      <a:pt x="9" y="124"/>
                      <a:pt x="5" y="123"/>
                    </a:cubicBezTo>
                    <a:cubicBezTo>
                      <a:pt x="5" y="123"/>
                      <a:pt x="5" y="123"/>
                      <a:pt x="5" y="123"/>
                    </a:cubicBezTo>
                    <a:cubicBezTo>
                      <a:pt x="2" y="123"/>
                      <a:pt x="0" y="122"/>
                      <a:pt x="0" y="117"/>
                    </a:cubicBezTo>
                    <a:cubicBezTo>
                      <a:pt x="10" y="5"/>
                      <a:pt x="10" y="5"/>
                      <a:pt x="10" y="5"/>
                    </a:cubicBezTo>
                    <a:cubicBezTo>
                      <a:pt x="10" y="1"/>
                      <a:pt x="13" y="0"/>
                      <a:pt x="16" y="0"/>
                    </a:cubicBezTo>
                    <a:cubicBezTo>
                      <a:pt x="16" y="0"/>
                      <a:pt x="16" y="0"/>
                      <a:pt x="16" y="0"/>
                    </a:cubicBezTo>
                    <a:cubicBezTo>
                      <a:pt x="20" y="0"/>
                      <a:pt x="22" y="2"/>
                      <a:pt x="22" y="6"/>
                    </a:cubicBezTo>
                    <a:lnTo>
                      <a:pt x="12" y="11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58" name="Freeform 38"/>
              <p:cNvSpPr>
                <a:spLocks/>
              </p:cNvSpPr>
              <p:nvPr/>
            </p:nvSpPr>
            <p:spPr bwMode="auto">
              <a:xfrm>
                <a:off x="6718300" y="3778250"/>
                <a:ext cx="239713" cy="239713"/>
              </a:xfrm>
              <a:custGeom>
                <a:avLst/>
                <a:gdLst>
                  <a:gd name="T0" fmla="*/ 11 w 94"/>
                  <a:gd name="T1" fmla="*/ 91 h 94"/>
                  <a:gd name="T2" fmla="*/ 3 w 94"/>
                  <a:gd name="T3" fmla="*/ 91 h 94"/>
                  <a:gd name="T4" fmla="*/ 3 w 94"/>
                  <a:gd name="T5" fmla="*/ 91 h 94"/>
                  <a:gd name="T6" fmla="*/ 3 w 94"/>
                  <a:gd name="T7" fmla="*/ 82 h 94"/>
                  <a:gd name="T8" fmla="*/ 82 w 94"/>
                  <a:gd name="T9" fmla="*/ 3 h 94"/>
                  <a:gd name="T10" fmla="*/ 91 w 94"/>
                  <a:gd name="T11" fmla="*/ 3 h 94"/>
                  <a:gd name="T12" fmla="*/ 91 w 94"/>
                  <a:gd name="T13" fmla="*/ 3 h 94"/>
                  <a:gd name="T14" fmla="*/ 91 w 94"/>
                  <a:gd name="T15" fmla="*/ 11 h 94"/>
                  <a:gd name="T16" fmla="*/ 11 w 94"/>
                  <a:gd name="T17" fmla="*/ 9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94">
                    <a:moveTo>
                      <a:pt x="11" y="91"/>
                    </a:moveTo>
                    <a:cubicBezTo>
                      <a:pt x="8" y="94"/>
                      <a:pt x="5" y="93"/>
                      <a:pt x="3" y="91"/>
                    </a:cubicBezTo>
                    <a:cubicBezTo>
                      <a:pt x="3" y="91"/>
                      <a:pt x="3" y="91"/>
                      <a:pt x="3" y="91"/>
                    </a:cubicBezTo>
                    <a:cubicBezTo>
                      <a:pt x="1" y="88"/>
                      <a:pt x="0" y="85"/>
                      <a:pt x="3" y="82"/>
                    </a:cubicBezTo>
                    <a:cubicBezTo>
                      <a:pt x="82" y="3"/>
                      <a:pt x="82" y="3"/>
                      <a:pt x="82" y="3"/>
                    </a:cubicBezTo>
                    <a:cubicBezTo>
                      <a:pt x="85" y="0"/>
                      <a:pt x="88" y="1"/>
                      <a:pt x="91" y="3"/>
                    </a:cubicBezTo>
                    <a:cubicBezTo>
                      <a:pt x="91" y="3"/>
                      <a:pt x="91" y="3"/>
                      <a:pt x="91" y="3"/>
                    </a:cubicBezTo>
                    <a:cubicBezTo>
                      <a:pt x="93" y="5"/>
                      <a:pt x="94" y="8"/>
                      <a:pt x="91" y="11"/>
                    </a:cubicBezTo>
                    <a:lnTo>
                      <a:pt x="11" y="91"/>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59" name="Freeform 39"/>
              <p:cNvSpPr>
                <a:spLocks/>
              </p:cNvSpPr>
              <p:nvPr/>
            </p:nvSpPr>
            <p:spPr bwMode="auto">
              <a:xfrm>
                <a:off x="6684963" y="3744913"/>
                <a:ext cx="306388" cy="303213"/>
              </a:xfrm>
              <a:custGeom>
                <a:avLst/>
                <a:gdLst>
                  <a:gd name="T0" fmla="*/ 98 w 120"/>
                  <a:gd name="T1" fmla="*/ 98 h 119"/>
                  <a:gd name="T2" fmla="*/ 21 w 120"/>
                  <a:gd name="T3" fmla="*/ 98 h 119"/>
                  <a:gd name="T4" fmla="*/ 21 w 120"/>
                  <a:gd name="T5" fmla="*/ 21 h 119"/>
                  <a:gd name="T6" fmla="*/ 98 w 120"/>
                  <a:gd name="T7" fmla="*/ 21 h 119"/>
                  <a:gd name="T8" fmla="*/ 98 w 120"/>
                  <a:gd name="T9" fmla="*/ 98 h 119"/>
                </a:gdLst>
                <a:ahLst/>
                <a:cxnLst>
                  <a:cxn ang="0">
                    <a:pos x="T0" y="T1"/>
                  </a:cxn>
                  <a:cxn ang="0">
                    <a:pos x="T2" y="T3"/>
                  </a:cxn>
                  <a:cxn ang="0">
                    <a:pos x="T4" y="T5"/>
                  </a:cxn>
                  <a:cxn ang="0">
                    <a:pos x="T6" y="T7"/>
                  </a:cxn>
                  <a:cxn ang="0">
                    <a:pos x="T8" y="T9"/>
                  </a:cxn>
                </a:cxnLst>
                <a:rect l="0" t="0" r="r" b="b"/>
                <a:pathLst>
                  <a:path w="120" h="119">
                    <a:moveTo>
                      <a:pt x="98" y="98"/>
                    </a:moveTo>
                    <a:cubicBezTo>
                      <a:pt x="77" y="119"/>
                      <a:pt x="43" y="119"/>
                      <a:pt x="21" y="98"/>
                    </a:cubicBezTo>
                    <a:cubicBezTo>
                      <a:pt x="0" y="77"/>
                      <a:pt x="0" y="43"/>
                      <a:pt x="21" y="21"/>
                    </a:cubicBezTo>
                    <a:cubicBezTo>
                      <a:pt x="43" y="0"/>
                      <a:pt x="77" y="0"/>
                      <a:pt x="98" y="21"/>
                    </a:cubicBezTo>
                    <a:cubicBezTo>
                      <a:pt x="120" y="43"/>
                      <a:pt x="120" y="77"/>
                      <a:pt x="98" y="98"/>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grpSp>
      </p:grpSp>
      <p:sp>
        <p:nvSpPr>
          <p:cNvPr id="69" name="TextBox 68"/>
          <p:cNvSpPr txBox="1"/>
          <p:nvPr/>
        </p:nvSpPr>
        <p:spPr>
          <a:xfrm>
            <a:off x="6972789" y="1366271"/>
            <a:ext cx="2867060" cy="958583"/>
          </a:xfrm>
          <a:prstGeom prst="rect">
            <a:avLst/>
          </a:prstGeom>
          <a:noFill/>
        </p:spPr>
        <p:txBody>
          <a:bodyPr wrap="squar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Messaging between components of your application</a:t>
            </a:r>
          </a:p>
        </p:txBody>
      </p:sp>
      <p:grpSp>
        <p:nvGrpSpPr>
          <p:cNvPr id="2" name="Group 1"/>
          <p:cNvGrpSpPr/>
          <p:nvPr/>
        </p:nvGrpSpPr>
        <p:grpSpPr>
          <a:xfrm>
            <a:off x="10884535" y="3780308"/>
            <a:ext cx="638084" cy="1232710"/>
            <a:chOff x="10987652" y="2836591"/>
            <a:chExt cx="638084" cy="1232710"/>
          </a:xfrm>
        </p:grpSpPr>
        <p:pic>
          <p:nvPicPr>
            <p:cNvPr id="70" name="Picture 69"/>
            <p:cNvPicPr>
              <a:picLocks noChangeAspect="1"/>
            </p:cNvPicPr>
            <p:nvPr/>
          </p:nvPicPr>
          <p:blipFill>
            <a:blip r:embed="rId9"/>
            <a:stretch>
              <a:fillRect/>
            </a:stretch>
          </p:blipFill>
          <p:spPr>
            <a:xfrm>
              <a:off x="10987652" y="2836591"/>
              <a:ext cx="171782" cy="766408"/>
            </a:xfrm>
            <a:prstGeom prst="rect">
              <a:avLst/>
            </a:prstGeom>
          </p:spPr>
        </p:pic>
        <p:pic>
          <p:nvPicPr>
            <p:cNvPr id="71" name="Picture 70"/>
            <p:cNvPicPr>
              <a:picLocks noChangeAspect="1"/>
            </p:cNvPicPr>
            <p:nvPr/>
          </p:nvPicPr>
          <p:blipFill>
            <a:blip r:embed="rId9"/>
            <a:stretch>
              <a:fillRect/>
            </a:stretch>
          </p:blipFill>
          <p:spPr>
            <a:xfrm>
              <a:off x="11143086" y="2992025"/>
              <a:ext cx="171782" cy="766408"/>
            </a:xfrm>
            <a:prstGeom prst="rect">
              <a:avLst/>
            </a:prstGeom>
          </p:spPr>
        </p:pic>
        <p:pic>
          <p:nvPicPr>
            <p:cNvPr id="72" name="Picture 71"/>
            <p:cNvPicPr>
              <a:picLocks noChangeAspect="1"/>
            </p:cNvPicPr>
            <p:nvPr/>
          </p:nvPicPr>
          <p:blipFill>
            <a:blip r:embed="rId9"/>
            <a:stretch>
              <a:fillRect/>
            </a:stretch>
          </p:blipFill>
          <p:spPr>
            <a:xfrm>
              <a:off x="11298520" y="3147459"/>
              <a:ext cx="171782" cy="766408"/>
            </a:xfrm>
            <a:prstGeom prst="rect">
              <a:avLst/>
            </a:prstGeom>
          </p:spPr>
        </p:pic>
        <p:pic>
          <p:nvPicPr>
            <p:cNvPr id="73" name="Picture 72"/>
            <p:cNvPicPr>
              <a:picLocks noChangeAspect="1"/>
            </p:cNvPicPr>
            <p:nvPr/>
          </p:nvPicPr>
          <p:blipFill>
            <a:blip r:embed="rId9"/>
            <a:stretch>
              <a:fillRect/>
            </a:stretch>
          </p:blipFill>
          <p:spPr>
            <a:xfrm>
              <a:off x="11453954" y="3302893"/>
              <a:ext cx="171782" cy="766408"/>
            </a:xfrm>
            <a:prstGeom prst="rect">
              <a:avLst/>
            </a:prstGeom>
          </p:spPr>
        </p:pic>
      </p:grpSp>
      <p:sp>
        <p:nvSpPr>
          <p:cNvPr id="76" name="TextBox 75"/>
          <p:cNvSpPr txBox="1"/>
          <p:nvPr/>
        </p:nvSpPr>
        <p:spPr>
          <a:xfrm>
            <a:off x="10065340" y="1371818"/>
            <a:ext cx="2276474" cy="1534858"/>
          </a:xfrm>
          <a:prstGeom prst="rect">
            <a:avLst/>
          </a:prstGeom>
          <a:noFill/>
        </p:spPr>
        <p:txBody>
          <a:bodyPr wrap="squar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Shared file systems option – when your application is already built to use a SMB protocol</a:t>
            </a:r>
          </a:p>
        </p:txBody>
      </p:sp>
    </p:spTree>
    <p:extLst>
      <p:ext uri="{BB962C8B-B14F-4D97-AF65-F5344CB8AC3E}">
        <p14:creationId xmlns:p14="http://schemas.microsoft.com/office/powerpoint/2010/main" val="160613330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 y="0"/>
            <a:ext cx="12436475" cy="776174"/>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effectLst/>
                <a:latin typeface="+mj-lt"/>
                <a:cs typeface="Segoe UI" pitchFamily="34" charset="0"/>
              </a:defRPr>
            </a:lvl1pPr>
          </a:lstStyle>
          <a:p>
            <a:r>
              <a:rPr lang="en-US" dirty="0"/>
              <a:t>Redundancy and Location</a:t>
            </a:r>
          </a:p>
        </p:txBody>
      </p:sp>
      <p:sp>
        <p:nvSpPr>
          <p:cNvPr id="2" name="Rectangle 1"/>
          <p:cNvSpPr/>
          <p:nvPr/>
        </p:nvSpPr>
        <p:spPr>
          <a:xfrm>
            <a:off x="442015" y="956879"/>
            <a:ext cx="3058633" cy="1223962"/>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3599" b="1" i="0" u="none" strike="noStrike" kern="0" cap="none" spc="0" normalizeH="0" baseline="0" noProof="0" dirty="0">
                <a:ln>
                  <a:noFill/>
                </a:ln>
                <a:solidFill>
                  <a:schemeClr val="tx2"/>
                </a:solidFill>
                <a:effectLst/>
                <a:uLnTx/>
                <a:uFillTx/>
              </a:rPr>
              <a:t>LRS: </a:t>
            </a:r>
            <a:r>
              <a:rPr kumimoji="0" lang="en-US" sz="3599" b="0" i="0" u="none" strike="noStrike" kern="0" cap="none" spc="0" normalizeH="0" baseline="0" noProof="0" dirty="0">
                <a:ln>
                  <a:noFill/>
                </a:ln>
                <a:solidFill>
                  <a:sysClr val="windowText" lastClr="000000"/>
                </a:solidFill>
                <a:effectLst/>
                <a:uLnTx/>
                <a:uFillTx/>
              </a:rPr>
              <a:t>3 Copies, 1 Datacenter</a:t>
            </a:r>
          </a:p>
        </p:txBody>
      </p:sp>
      <p:pic>
        <p:nvPicPr>
          <p:cNvPr id="9" name="Picture 8"/>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77536" y="4084621"/>
            <a:ext cx="1700388" cy="1009033"/>
          </a:xfrm>
          <a:prstGeom prst="rect">
            <a:avLst/>
          </a:prstGeom>
        </p:spPr>
      </p:pic>
      <p:grpSp>
        <p:nvGrpSpPr>
          <p:cNvPr id="13" name="Group 12"/>
          <p:cNvGrpSpPr/>
          <p:nvPr/>
        </p:nvGrpSpPr>
        <p:grpSpPr>
          <a:xfrm>
            <a:off x="750441" y="3037495"/>
            <a:ext cx="1354579" cy="1047127"/>
            <a:chOff x="765950" y="1273023"/>
            <a:chExt cx="1354771" cy="1047275"/>
          </a:xfrm>
        </p:grpSpPr>
        <p:pic>
          <p:nvPicPr>
            <p:cNvPr id="10"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765950" y="12730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918350" y="14254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70750" y="15778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4" name="Rectangle 13"/>
          <p:cNvSpPr/>
          <p:nvPr/>
        </p:nvSpPr>
        <p:spPr>
          <a:xfrm>
            <a:off x="4483262" y="1109257"/>
            <a:ext cx="3058633" cy="1223962"/>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3599" b="1" i="0" u="none" strike="noStrike" kern="0" cap="none" spc="0" normalizeH="0" baseline="0" noProof="0" dirty="0">
                <a:ln>
                  <a:noFill/>
                </a:ln>
                <a:solidFill>
                  <a:schemeClr val="tx2"/>
                </a:solidFill>
                <a:effectLst/>
                <a:uLnTx/>
                <a:uFillTx/>
              </a:rPr>
              <a:t>GRS: </a:t>
            </a:r>
            <a:r>
              <a:rPr kumimoji="0" lang="en-US" sz="3599" b="0" i="0" u="none" strike="noStrike" kern="0" cap="none" spc="0" normalizeH="0" baseline="0" noProof="0" dirty="0">
                <a:ln>
                  <a:noFill/>
                </a:ln>
                <a:solidFill>
                  <a:sysClr val="windowText" lastClr="000000"/>
                </a:solidFill>
                <a:effectLst/>
                <a:uLnTx/>
                <a:uFillTx/>
              </a:rPr>
              <a:t>6 Copies, 2 Datacenters</a:t>
            </a:r>
          </a:p>
        </p:txBody>
      </p:sp>
      <p:pic>
        <p:nvPicPr>
          <p:cNvPr id="15" name="Picture 14"/>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3704512" y="4084621"/>
            <a:ext cx="1700388" cy="1009033"/>
          </a:xfrm>
          <a:prstGeom prst="rect">
            <a:avLst/>
          </a:prstGeom>
        </p:spPr>
      </p:pic>
      <p:grpSp>
        <p:nvGrpSpPr>
          <p:cNvPr id="16" name="Group 15"/>
          <p:cNvGrpSpPr/>
          <p:nvPr/>
        </p:nvGrpSpPr>
        <p:grpSpPr>
          <a:xfrm>
            <a:off x="3877418" y="3037495"/>
            <a:ext cx="1354579" cy="1047127"/>
            <a:chOff x="765950" y="1273023"/>
            <a:chExt cx="1354771" cy="1047275"/>
          </a:xfrm>
        </p:grpSpPr>
        <p:pic>
          <p:nvPicPr>
            <p:cNvPr id="17"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765950" y="12730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918350" y="14254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70750" y="15778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20" name="Picture 19"/>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843341" y="4084621"/>
            <a:ext cx="1700388" cy="1009033"/>
          </a:xfrm>
          <a:prstGeom prst="rect">
            <a:avLst/>
          </a:prstGeom>
        </p:spPr>
      </p:pic>
      <p:grpSp>
        <p:nvGrpSpPr>
          <p:cNvPr id="21" name="Group 20"/>
          <p:cNvGrpSpPr/>
          <p:nvPr/>
        </p:nvGrpSpPr>
        <p:grpSpPr>
          <a:xfrm>
            <a:off x="6016248" y="3037495"/>
            <a:ext cx="1354579" cy="1047127"/>
            <a:chOff x="765950" y="1273023"/>
            <a:chExt cx="1354771" cy="1047275"/>
          </a:xfrm>
        </p:grpSpPr>
        <p:pic>
          <p:nvPicPr>
            <p:cNvPr id="22"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765950" y="12730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918350" y="14254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70750" y="15778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6" name="Right Arrow 25"/>
          <p:cNvSpPr/>
          <p:nvPr/>
        </p:nvSpPr>
        <p:spPr>
          <a:xfrm>
            <a:off x="5404900" y="4589137"/>
            <a:ext cx="436607" cy="182588"/>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 name="Rectangle 26"/>
          <p:cNvSpPr/>
          <p:nvPr/>
        </p:nvSpPr>
        <p:spPr>
          <a:xfrm>
            <a:off x="8739968" y="1109258"/>
            <a:ext cx="3341030" cy="1223962"/>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3599" b="1" i="0" u="none" strike="noStrike" kern="0" cap="none" spc="0" normalizeH="0" baseline="0" noProof="0" dirty="0">
                <a:ln>
                  <a:noFill/>
                </a:ln>
                <a:solidFill>
                  <a:schemeClr val="tx2"/>
                </a:solidFill>
                <a:effectLst/>
                <a:uLnTx/>
                <a:uFillTx/>
              </a:rPr>
              <a:t>ZRS: </a:t>
            </a:r>
            <a:r>
              <a:rPr kumimoji="0" lang="en-US" sz="3599" b="0" i="0" u="none" strike="noStrike" kern="0" cap="none" spc="0" normalizeH="0" baseline="0" noProof="0" dirty="0">
                <a:ln>
                  <a:noFill/>
                </a:ln>
                <a:solidFill>
                  <a:sysClr val="windowText" lastClr="000000"/>
                </a:solidFill>
                <a:effectLst/>
                <a:uLnTx/>
                <a:uFillTx/>
              </a:rPr>
              <a:t>3 Copies, 2-3 Datacenters</a:t>
            </a:r>
          </a:p>
        </p:txBody>
      </p:sp>
      <p:pic>
        <p:nvPicPr>
          <p:cNvPr id="28" name="Picture 27"/>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8241781" y="4084621"/>
            <a:ext cx="1700388" cy="1009033"/>
          </a:xfrm>
          <a:prstGeom prst="rect">
            <a:avLst/>
          </a:prstGeom>
        </p:spPr>
      </p:pic>
      <p:pic>
        <p:nvPicPr>
          <p:cNvPr id="30"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8416521" y="3037495"/>
            <a:ext cx="1049822" cy="74236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32"/>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0380610" y="4084621"/>
            <a:ext cx="1700388" cy="1009033"/>
          </a:xfrm>
          <a:prstGeom prst="rect">
            <a:avLst/>
          </a:prstGeom>
        </p:spPr>
      </p:pic>
      <p:pic>
        <p:nvPicPr>
          <p:cNvPr id="35"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555350" y="3037495"/>
            <a:ext cx="1049822" cy="74236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Right Arrow 37"/>
          <p:cNvSpPr/>
          <p:nvPr/>
        </p:nvSpPr>
        <p:spPr>
          <a:xfrm flipV="1">
            <a:off x="9944004" y="4561846"/>
            <a:ext cx="436607" cy="209879"/>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pic>
        <p:nvPicPr>
          <p:cNvPr id="44" name="Picture 43"/>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0810114" y="6165551"/>
            <a:ext cx="1089007" cy="646232"/>
          </a:xfrm>
          <a:prstGeom prst="rect">
            <a:avLst/>
          </a:prstGeom>
        </p:spPr>
      </p:pic>
      <p:pic>
        <p:nvPicPr>
          <p:cNvPr id="46"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917074" y="5490223"/>
            <a:ext cx="708575" cy="44597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9" name="Right Arrow 48"/>
          <p:cNvSpPr/>
          <p:nvPr/>
        </p:nvSpPr>
        <p:spPr>
          <a:xfrm rot="1798053" flipV="1">
            <a:off x="9781337" y="5139387"/>
            <a:ext cx="1143110" cy="186521"/>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 name="Right Arrow 30"/>
          <p:cNvSpPr/>
          <p:nvPr/>
        </p:nvSpPr>
        <p:spPr>
          <a:xfrm rot="5400000">
            <a:off x="6150783" y="5424002"/>
            <a:ext cx="863752" cy="203057"/>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651800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fade">
                                      <p:cBhvr>
                                        <p:cTn id="26" dur="500"/>
                                        <p:tgtEl>
                                          <p:spTgt spid="15"/>
                                        </p:tgtEl>
                                      </p:cBhvr>
                                    </p:animEffect>
                                  </p:childTnLst>
                                </p:cTn>
                              </p:par>
                              <p:par>
                                <p:cTn id="27" presetID="10" presetClass="entr" presetSubtype="0" fill="hold" nodeType="with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500"/>
                                        <p:tgtEl>
                                          <p:spTgt spid="20"/>
                                        </p:tgtEl>
                                      </p:cBhvr>
                                    </p:animEffec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500"/>
                                        <p:tgtEl>
                                          <p:spTgt spid="1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childTnLst>
                          </p:cTn>
                        </p:par>
                        <p:par>
                          <p:cTn id="39" fill="hold">
                            <p:stCondLst>
                              <p:cond delay="500"/>
                            </p:stCondLst>
                            <p:childTnLst>
                              <p:par>
                                <p:cTn id="40" presetID="10" presetClass="entr" presetSubtype="0" fill="hold" nodeType="after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500"/>
                                        <p:tgtEl>
                                          <p:spTgt spid="2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31"/>
                                        </p:tgtEl>
                                        <p:attrNameLst>
                                          <p:attrName>style.visibility</p:attrName>
                                        </p:attrNameLst>
                                      </p:cBhvr>
                                      <p:to>
                                        <p:strVal val="visible"/>
                                      </p:to>
                                    </p:set>
                                    <p:animEffect transition="in" filter="fade">
                                      <p:cBhvr>
                                        <p:cTn id="47" dur="500"/>
                                        <p:tgtEl>
                                          <p:spTgt spid="31"/>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7"/>
                                        </p:tgtEl>
                                        <p:attrNameLst>
                                          <p:attrName>style.visibility</p:attrName>
                                        </p:attrNameLst>
                                      </p:cBhvr>
                                      <p:to>
                                        <p:strVal val="visible"/>
                                      </p:to>
                                    </p:set>
                                    <p:animEffect transition="in" filter="fade">
                                      <p:cBhvr>
                                        <p:cTn id="52" dur="500"/>
                                        <p:tgtEl>
                                          <p:spTgt spid="27"/>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childTnLst>
                                </p:cTn>
                              </p:par>
                              <p:par>
                                <p:cTn id="58" presetID="10" presetClass="entr" presetSubtype="0" fill="hold" nodeType="withEffect">
                                  <p:stCondLst>
                                    <p:cond delay="0"/>
                                  </p:stCondLst>
                                  <p:childTnLst>
                                    <p:set>
                                      <p:cBhvr>
                                        <p:cTn id="59" dur="1" fill="hold">
                                          <p:stCondLst>
                                            <p:cond delay="0"/>
                                          </p:stCondLst>
                                        </p:cTn>
                                        <p:tgtEl>
                                          <p:spTgt spid="33"/>
                                        </p:tgtEl>
                                        <p:attrNameLst>
                                          <p:attrName>style.visibility</p:attrName>
                                        </p:attrNameLst>
                                      </p:cBhvr>
                                      <p:to>
                                        <p:strVal val="visible"/>
                                      </p:to>
                                    </p:set>
                                    <p:animEffect transition="in" filter="fade">
                                      <p:cBhvr>
                                        <p:cTn id="60" dur="500"/>
                                        <p:tgtEl>
                                          <p:spTgt spid="33"/>
                                        </p:tgtEl>
                                      </p:cBhvr>
                                    </p:animEffect>
                                  </p:childTnLst>
                                </p:cTn>
                              </p:par>
                              <p:par>
                                <p:cTn id="61" presetID="10" presetClass="entr" presetSubtype="0" fill="hold" nodeType="withEffect">
                                  <p:stCondLst>
                                    <p:cond delay="0"/>
                                  </p:stCondLst>
                                  <p:childTnLst>
                                    <p:set>
                                      <p:cBhvr>
                                        <p:cTn id="62" dur="1" fill="hold">
                                          <p:stCondLst>
                                            <p:cond delay="0"/>
                                          </p:stCondLst>
                                        </p:cTn>
                                        <p:tgtEl>
                                          <p:spTgt spid="44"/>
                                        </p:tgtEl>
                                        <p:attrNameLst>
                                          <p:attrName>style.visibility</p:attrName>
                                        </p:attrNameLst>
                                      </p:cBhvr>
                                      <p:to>
                                        <p:strVal val="visible"/>
                                      </p:to>
                                    </p:set>
                                    <p:animEffect transition="in" filter="fade">
                                      <p:cBhvr>
                                        <p:cTn id="63" dur="500"/>
                                        <p:tgtEl>
                                          <p:spTgt spid="44"/>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30"/>
                                        </p:tgtEl>
                                        <p:attrNameLst>
                                          <p:attrName>style.visibility</p:attrName>
                                        </p:attrNameLst>
                                      </p:cBhvr>
                                      <p:to>
                                        <p:strVal val="visible"/>
                                      </p:to>
                                    </p:set>
                                    <p:animEffect transition="in" filter="fade">
                                      <p:cBhvr>
                                        <p:cTn id="68" dur="500"/>
                                        <p:tgtEl>
                                          <p:spTgt spid="30"/>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38"/>
                                        </p:tgtEl>
                                        <p:attrNameLst>
                                          <p:attrName>style.visibility</p:attrName>
                                        </p:attrNameLst>
                                      </p:cBhvr>
                                      <p:to>
                                        <p:strVal val="visible"/>
                                      </p:to>
                                    </p:set>
                                    <p:animEffect transition="in" filter="fade">
                                      <p:cBhvr>
                                        <p:cTn id="72" dur="500"/>
                                        <p:tgtEl>
                                          <p:spTgt spid="38"/>
                                        </p:tgtEl>
                                      </p:cBhvr>
                                    </p:animEffect>
                                  </p:childTnLst>
                                </p:cTn>
                              </p:par>
                            </p:childTnLst>
                          </p:cTn>
                        </p:par>
                        <p:par>
                          <p:cTn id="73" fill="hold">
                            <p:stCondLst>
                              <p:cond delay="1000"/>
                            </p:stCondLst>
                            <p:childTnLst>
                              <p:par>
                                <p:cTn id="74" presetID="10" presetClass="entr" presetSubtype="0" fill="hold" nodeType="afterEffect">
                                  <p:stCondLst>
                                    <p:cond delay="0"/>
                                  </p:stCondLst>
                                  <p:childTnLst>
                                    <p:set>
                                      <p:cBhvr>
                                        <p:cTn id="75" dur="1" fill="hold">
                                          <p:stCondLst>
                                            <p:cond delay="0"/>
                                          </p:stCondLst>
                                        </p:cTn>
                                        <p:tgtEl>
                                          <p:spTgt spid="35"/>
                                        </p:tgtEl>
                                        <p:attrNameLst>
                                          <p:attrName>style.visibility</p:attrName>
                                        </p:attrNameLst>
                                      </p:cBhvr>
                                      <p:to>
                                        <p:strVal val="visible"/>
                                      </p:to>
                                    </p:set>
                                    <p:animEffect transition="in" filter="fade">
                                      <p:cBhvr>
                                        <p:cTn id="76" dur="500"/>
                                        <p:tgtEl>
                                          <p:spTgt spid="35"/>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49"/>
                                        </p:tgtEl>
                                        <p:attrNameLst>
                                          <p:attrName>style.visibility</p:attrName>
                                        </p:attrNameLst>
                                      </p:cBhvr>
                                      <p:to>
                                        <p:strVal val="visible"/>
                                      </p:to>
                                    </p:set>
                                    <p:animEffect transition="in" filter="fade">
                                      <p:cBhvr>
                                        <p:cTn id="80" dur="500"/>
                                        <p:tgtEl>
                                          <p:spTgt spid="49"/>
                                        </p:tgtEl>
                                      </p:cBhvr>
                                    </p:animEffect>
                                  </p:childTnLst>
                                </p:cTn>
                              </p:par>
                            </p:childTnLst>
                          </p:cTn>
                        </p:par>
                        <p:par>
                          <p:cTn id="81" fill="hold">
                            <p:stCondLst>
                              <p:cond delay="2000"/>
                            </p:stCondLst>
                            <p:childTnLst>
                              <p:par>
                                <p:cTn id="82" presetID="10" presetClass="entr" presetSubtype="0" fill="hold" nodeType="afterEffect">
                                  <p:stCondLst>
                                    <p:cond delay="0"/>
                                  </p:stCondLst>
                                  <p:childTnLst>
                                    <p:set>
                                      <p:cBhvr>
                                        <p:cTn id="83" dur="1" fill="hold">
                                          <p:stCondLst>
                                            <p:cond delay="0"/>
                                          </p:stCondLst>
                                        </p:cTn>
                                        <p:tgtEl>
                                          <p:spTgt spid="46"/>
                                        </p:tgtEl>
                                        <p:attrNameLst>
                                          <p:attrName>style.visibility</p:attrName>
                                        </p:attrNameLst>
                                      </p:cBhvr>
                                      <p:to>
                                        <p:strVal val="visible"/>
                                      </p:to>
                                    </p:set>
                                    <p:animEffect transition="in" filter="fade">
                                      <p:cBhvr>
                                        <p:cTn id="84"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p:bldP spid="26" grpId="0" animBg="1"/>
      <p:bldP spid="27" grpId="0"/>
      <p:bldP spid="38" grpId="0" animBg="1"/>
      <p:bldP spid="49" grpId="0" animBg="1"/>
      <p:bldP spid="31"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178572" y="1414280"/>
            <a:ext cx="9952728" cy="3449866"/>
          </a:xfrm>
        </p:spPr>
        <p:txBody>
          <a:bodyPr/>
          <a:lstStyle/>
          <a:p>
            <a:r>
              <a:rPr lang="en-US" dirty="0"/>
              <a:t>Azure Portal</a:t>
            </a:r>
          </a:p>
          <a:p>
            <a:r>
              <a:rPr lang="en-US" dirty="0"/>
              <a:t>Azure PowerShell</a:t>
            </a:r>
          </a:p>
          <a:p>
            <a:r>
              <a:rPr lang="en-US" dirty="0"/>
              <a:t>Azure Command Line Interface (CLI)</a:t>
            </a:r>
          </a:p>
          <a:p>
            <a:r>
              <a:rPr lang="en-US" dirty="0"/>
              <a:t>Service Management REST API</a:t>
            </a:r>
          </a:p>
          <a:p>
            <a:r>
              <a:rPr lang="en-US" dirty="0"/>
              <a:t>Azure Storage Resource Provider REST API</a:t>
            </a:r>
          </a:p>
        </p:txBody>
      </p:sp>
      <p:sp>
        <p:nvSpPr>
          <p:cNvPr id="5" name="Title 1"/>
          <p:cNvSpPr txBox="1">
            <a:spLocks/>
          </p:cNvSpPr>
          <p:nvPr/>
        </p:nvSpPr>
        <p:spPr>
          <a:xfrm>
            <a:off x="-1" y="0"/>
            <a:ext cx="12436475" cy="859809"/>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800" b="0" cap="none" spc="-102" baseline="0">
                <a:ln w="3175">
                  <a:noFill/>
                </a:ln>
                <a:effectLst/>
                <a:latin typeface="+mj-lt"/>
                <a:cs typeface="Segoe UI" pitchFamily="34" charset="0"/>
              </a:defRPr>
            </a:lvl1pPr>
          </a:lstStyle>
          <a:p>
            <a:r>
              <a:rPr lang="en-US" dirty="0"/>
              <a:t>Creating and Managing Azure Storage</a:t>
            </a:r>
          </a:p>
        </p:txBody>
      </p:sp>
      <p:pic>
        <p:nvPicPr>
          <p:cNvPr id="6" name="Picture 5"/>
          <p:cNvPicPr>
            <a:picLocks noChangeAspect="1"/>
          </p:cNvPicPr>
          <p:nvPr/>
        </p:nvPicPr>
        <p:blipFill>
          <a:blip r:embed="rId3"/>
          <a:stretch>
            <a:fillRect/>
          </a:stretch>
        </p:blipFill>
        <p:spPr>
          <a:xfrm>
            <a:off x="8407609" y="4582975"/>
            <a:ext cx="3308257" cy="3308257"/>
          </a:xfrm>
          <a:prstGeom prst="rect">
            <a:avLst/>
          </a:prstGeom>
        </p:spPr>
      </p:pic>
    </p:spTree>
    <p:extLst>
      <p:ext uri="{BB962C8B-B14F-4D97-AF65-F5344CB8AC3E}">
        <p14:creationId xmlns:p14="http://schemas.microsoft.com/office/powerpoint/2010/main" val="263075191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Copy and view data on your storage account using AZCOPY</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563455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55247025"/>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5503863"/>
            <a:ext cx="4957763" cy="1084262"/>
          </a:xfrm>
        </p:spPr>
        <p:txBody>
          <a:bodyPr>
            <a:normAutofit fontScale="90000"/>
          </a:bodyPr>
          <a:lstStyle/>
          <a:p>
            <a:r>
              <a:rPr lang="en-US" sz="8800" dirty="0">
                <a:solidFill>
                  <a:schemeClr val="tx1"/>
                </a:solidFill>
              </a:rPr>
              <a:t>Welcome!</a:t>
            </a:r>
          </a:p>
        </p:txBody>
      </p:sp>
      <p:sp>
        <p:nvSpPr>
          <p:cNvPr id="3" name="Text Placeholder 2"/>
          <p:cNvSpPr>
            <a:spLocks noGrp="1"/>
          </p:cNvSpPr>
          <p:nvPr>
            <p:ph sz="quarter" idx="4294967295"/>
          </p:nvPr>
        </p:nvSpPr>
        <p:spPr>
          <a:xfrm>
            <a:off x="0" y="-6350"/>
            <a:ext cx="11655425" cy="2652713"/>
          </a:xfrm>
          <a:solidFill>
            <a:schemeClr val="bg1">
              <a:lumMod val="95000"/>
              <a:alpha val="74000"/>
            </a:schemeClr>
          </a:solidFill>
          <a:effectLst>
            <a:outerShdw blurRad="50800" dist="38100" dir="2700000" algn="tl" rotWithShape="0">
              <a:prstClr val="black">
                <a:alpha val="40000"/>
              </a:prstClr>
            </a:outerShdw>
          </a:effectLst>
        </p:spPr>
        <p:txBody>
          <a:bodyPr>
            <a:normAutofit fontScale="92500"/>
          </a:bodyPr>
          <a:lstStyle/>
          <a:p>
            <a:pPr>
              <a:spcBef>
                <a:spcPts val="600"/>
              </a:spcBef>
              <a:spcAft>
                <a:spcPts val="600"/>
              </a:spcAft>
            </a:pPr>
            <a:r>
              <a:rPr lang="en-US" sz="3600" dirty="0">
                <a:solidFill>
                  <a:srgbClr val="002864"/>
                </a:solidFill>
              </a:rPr>
              <a:t>Log in to the site:</a:t>
            </a:r>
          </a:p>
          <a:p>
            <a:pPr marL="0" indent="0" algn="r">
              <a:spcBef>
                <a:spcPts val="600"/>
              </a:spcBef>
              <a:spcAft>
                <a:spcPts val="600"/>
              </a:spcAft>
              <a:buNone/>
            </a:pPr>
            <a:r>
              <a:rPr lang="en-US" sz="4800" dirty="0">
                <a:solidFill>
                  <a:srgbClr val="FF0000"/>
                </a:solidFill>
              </a:rPr>
              <a:t>http://cisw-foundations.azurewebsites.net/</a:t>
            </a:r>
            <a:endParaRPr lang="en-US" sz="3600" dirty="0">
              <a:solidFill>
                <a:srgbClr val="002864"/>
              </a:solidFill>
            </a:endParaRPr>
          </a:p>
          <a:p>
            <a:pPr>
              <a:spcBef>
                <a:spcPts val="600"/>
              </a:spcBef>
              <a:spcAft>
                <a:spcPts val="600"/>
              </a:spcAft>
            </a:pPr>
            <a:r>
              <a:rPr lang="en-US" sz="3600" dirty="0">
                <a:solidFill>
                  <a:srgbClr val="002864"/>
                </a:solidFill>
              </a:rPr>
              <a:t>Select the “</a:t>
            </a:r>
            <a:r>
              <a:rPr lang="en-US" sz="3600" dirty="0">
                <a:solidFill>
                  <a:srgbClr val="FF0000"/>
                </a:solidFill>
              </a:rPr>
              <a:t>CISW002 - Building Solutions with Microsoft Business Analytics and AI</a:t>
            </a:r>
            <a:r>
              <a:rPr lang="en-US" sz="3600" dirty="0">
                <a:solidFill>
                  <a:srgbClr val="002864"/>
                </a:solidFill>
              </a:rPr>
              <a:t>” Link</a:t>
            </a:r>
          </a:p>
        </p:txBody>
      </p:sp>
    </p:spTree>
    <p:extLst>
      <p:ext uri="{BB962C8B-B14F-4D97-AF65-F5344CB8AC3E}">
        <p14:creationId xmlns:p14="http://schemas.microsoft.com/office/powerpoint/2010/main" val="2038441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0"/>
            <a:ext cx="14616752" cy="750627"/>
          </a:xfrm>
        </p:spPr>
        <p:txBody>
          <a:bodyPr/>
          <a:lstStyle/>
          <a:p>
            <a:r>
              <a:rPr lang="en-US" dirty="0">
                <a:solidFill>
                  <a:schemeClr val="tx1"/>
                </a:solidFill>
              </a:rPr>
              <a:t>Introduction</a:t>
            </a:r>
          </a:p>
        </p:txBody>
      </p:sp>
      <p:sp>
        <p:nvSpPr>
          <p:cNvPr id="3" name="Text Placeholder 2"/>
          <p:cNvSpPr>
            <a:spLocks noGrp="1"/>
          </p:cNvSpPr>
          <p:nvPr>
            <p:ph sz="quarter" idx="4294967295"/>
          </p:nvPr>
        </p:nvSpPr>
        <p:spPr>
          <a:xfrm>
            <a:off x="0" y="1382713"/>
            <a:ext cx="5037138" cy="3791807"/>
          </a:xfrm>
        </p:spPr>
        <p:txBody>
          <a:bodyPr/>
          <a:lstStyle/>
          <a:p>
            <a:pPr>
              <a:spcBef>
                <a:spcPts val="600"/>
              </a:spcBef>
              <a:spcAft>
                <a:spcPts val="600"/>
              </a:spcAft>
            </a:pPr>
            <a:r>
              <a:rPr lang="en-US" sz="3600" dirty="0">
                <a:solidFill>
                  <a:srgbClr val="002864"/>
                </a:solidFill>
              </a:rPr>
              <a:t>Class hours</a:t>
            </a:r>
          </a:p>
          <a:p>
            <a:pPr>
              <a:spcBef>
                <a:spcPts val="600"/>
              </a:spcBef>
              <a:spcAft>
                <a:spcPts val="600"/>
              </a:spcAft>
            </a:pPr>
            <a:r>
              <a:rPr lang="en-US" sz="3600" dirty="0">
                <a:solidFill>
                  <a:srgbClr val="002864"/>
                </a:solidFill>
              </a:rPr>
              <a:t>Facilities</a:t>
            </a:r>
          </a:p>
          <a:p>
            <a:pPr>
              <a:spcBef>
                <a:spcPts val="600"/>
              </a:spcBef>
              <a:spcAft>
                <a:spcPts val="600"/>
              </a:spcAft>
            </a:pPr>
            <a:r>
              <a:rPr lang="en-US" sz="3600" dirty="0">
                <a:solidFill>
                  <a:srgbClr val="002864"/>
                </a:solidFill>
              </a:rPr>
              <a:t>Internet and Azure Access</a:t>
            </a:r>
          </a:p>
          <a:p>
            <a:pPr>
              <a:spcBef>
                <a:spcPts val="600"/>
              </a:spcBef>
              <a:spcAft>
                <a:spcPts val="600"/>
              </a:spcAft>
            </a:pPr>
            <a:r>
              <a:rPr lang="en-US" sz="3600" dirty="0">
                <a:solidFill>
                  <a:srgbClr val="002864"/>
                </a:solidFill>
              </a:rPr>
              <a:t>Labs</a:t>
            </a:r>
          </a:p>
          <a:p>
            <a:pPr>
              <a:spcBef>
                <a:spcPts val="600"/>
              </a:spcBef>
              <a:spcAft>
                <a:spcPts val="600"/>
              </a:spcAft>
            </a:pPr>
            <a:r>
              <a:rPr lang="en-US" sz="3600" dirty="0">
                <a:solidFill>
                  <a:srgbClr val="002864"/>
                </a:solidFill>
              </a:rPr>
              <a:t>Feedback </a:t>
            </a:r>
          </a:p>
        </p:txBody>
      </p:sp>
    </p:spTree>
    <p:extLst>
      <p:ext uri="{BB962C8B-B14F-4D97-AF65-F5344CB8AC3E}">
        <p14:creationId xmlns:p14="http://schemas.microsoft.com/office/powerpoint/2010/main" val="6764132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Optional: Local Workstation Setup</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43198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8704" y="1671624"/>
            <a:ext cx="7514284" cy="450892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Understand the Team Data Science Process</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Understand the Microsoft Business Analytics and AI Platform</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lang="en-US" sz="3200" dirty="0">
                <a:solidFill>
                  <a:srgbClr val="00B050"/>
                </a:solidFill>
                <a:latin typeface="Segoe UI Light"/>
              </a:rPr>
              <a:t>Understand DevOps for Data Science Projects</a:t>
            </a:r>
            <a:endParaRPr kumimoji="0" lang="en-US" sz="3200" b="0" i="0" u="none" strike="noStrike" kern="1200" cap="none" spc="0" normalizeH="0" baseline="0" noProof="0" dirty="0">
              <a:ln>
                <a:noFill/>
              </a:ln>
              <a:solidFill>
                <a:srgbClr val="00B050"/>
              </a:solidFill>
              <a:effectLst/>
              <a:uLnTx/>
              <a:uFillTx/>
              <a:latin typeface="Segoe UI Light"/>
              <a:ea typeface="+mn-ea"/>
              <a:cs typeface="+mn-cs"/>
            </a:endParaRP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Set up and Configure your Development Environments</a:t>
            </a:r>
          </a:p>
        </p:txBody>
      </p:sp>
      <p:sp>
        <p:nvSpPr>
          <p:cNvPr id="7" name="Title 1"/>
          <p:cNvSpPr txBox="1">
            <a:spLocks/>
          </p:cNvSpPr>
          <p:nvPr/>
        </p:nvSpPr>
        <p:spPr>
          <a:xfrm>
            <a:off x="-1" y="0"/>
            <a:ext cx="12436475" cy="87345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effectLst/>
                <a:latin typeface="+mj-lt"/>
                <a:cs typeface="Segoe UI" pitchFamily="34" charset="0"/>
              </a:defRPr>
            </a:lvl1pPr>
          </a:lstStyle>
          <a:p>
            <a:r>
              <a:rPr lang="en-US" dirty="0"/>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34077413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11439937" y="6606832"/>
            <a:ext cx="777278" cy="387693"/>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AADACFB-7C71-4E89-89D2-7BBA40B7BFA9}"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rgbClr val="505050"/>
              </a:solidFill>
              <a:effectLst/>
              <a:uLnTx/>
              <a:uFillTx/>
            </a:endParaRPr>
          </a:p>
        </p:txBody>
      </p:sp>
      <p:pic>
        <p:nvPicPr>
          <p:cNvPr id="3" name="Picture 2"/>
          <p:cNvPicPr>
            <a:picLocks noChangeAspect="1"/>
          </p:cNvPicPr>
          <p:nvPr/>
        </p:nvPicPr>
        <p:blipFill>
          <a:blip r:embed="rId3"/>
          <a:stretch>
            <a:fillRect/>
          </a:stretch>
        </p:blipFill>
        <p:spPr>
          <a:xfrm>
            <a:off x="0" y="-1"/>
            <a:ext cx="9348716" cy="7011537"/>
          </a:xfrm>
          <a:prstGeom prst="rect">
            <a:avLst/>
          </a:prstGeom>
          <a:ln>
            <a:noFill/>
          </a:ln>
          <a:effectLst>
            <a:outerShdw blurRad="292100" dist="139700" dir="2700000" algn="tl" rotWithShape="0">
              <a:srgbClr val="333333">
                <a:alpha val="65000"/>
              </a:srgbClr>
            </a:outerShdw>
          </a:effectLst>
        </p:spPr>
      </p:pic>
      <p:cxnSp>
        <p:nvCxnSpPr>
          <p:cNvPr id="5" name="Straight Connector 4"/>
          <p:cNvCxnSpPr>
            <a:cxnSpLocks/>
          </p:cNvCxnSpPr>
          <p:nvPr/>
        </p:nvCxnSpPr>
        <p:spPr>
          <a:xfrm>
            <a:off x="0" y="1651379"/>
            <a:ext cx="12217215" cy="54591"/>
          </a:xfrm>
          <a:prstGeom prst="line">
            <a:avLst/>
          </a:prstGeom>
        </p:spPr>
        <p:style>
          <a:lnRef idx="3">
            <a:schemeClr val="dk1"/>
          </a:lnRef>
          <a:fillRef idx="0">
            <a:schemeClr val="dk1"/>
          </a:fillRef>
          <a:effectRef idx="2">
            <a:schemeClr val="dk1"/>
          </a:effectRef>
          <a:fontRef idx="minor">
            <a:schemeClr val="tx1"/>
          </a:fontRef>
        </p:style>
      </p:cxnSp>
      <p:cxnSp>
        <p:nvCxnSpPr>
          <p:cNvPr id="10" name="Straight Connector 9"/>
          <p:cNvCxnSpPr>
            <a:cxnSpLocks/>
          </p:cNvCxnSpPr>
          <p:nvPr/>
        </p:nvCxnSpPr>
        <p:spPr>
          <a:xfrm>
            <a:off x="2272" y="3769061"/>
            <a:ext cx="12217215" cy="54591"/>
          </a:xfrm>
          <a:prstGeom prst="line">
            <a:avLst/>
          </a:prstGeom>
        </p:spPr>
        <p:style>
          <a:lnRef idx="3">
            <a:schemeClr val="dk1"/>
          </a:lnRef>
          <a:fillRef idx="0">
            <a:schemeClr val="dk1"/>
          </a:fillRef>
          <a:effectRef idx="2">
            <a:schemeClr val="dk1"/>
          </a:effectRef>
          <a:fontRef idx="minor">
            <a:schemeClr val="tx1"/>
          </a:fontRef>
        </p:style>
      </p:cxnSp>
      <p:sp>
        <p:nvSpPr>
          <p:cNvPr id="11" name="TextBox 10"/>
          <p:cNvSpPr txBox="1"/>
          <p:nvPr/>
        </p:nvSpPr>
        <p:spPr>
          <a:xfrm>
            <a:off x="9717205" y="573206"/>
            <a:ext cx="2500009" cy="764275"/>
          </a:xfrm>
          <a:prstGeom prst="rect">
            <a:avLst/>
          </a:prstGeom>
        </p:spPr>
        <p:txBody>
          <a:bodyPr vert="horz" wrap="none" lIns="91440" tIns="91440" rIns="91440" bIns="9144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bg2">
                    <a:lumMod val="75000"/>
                    <a:lumOff val="25000"/>
                  </a:schemeClr>
                </a:solidFill>
                <a:effectLst/>
                <a:uLnTx/>
                <a:uFillTx/>
                <a:latin typeface="Segoe UI" pitchFamily="34" charset="0"/>
                <a:ea typeface="Segoe UI" pitchFamily="34" charset="0"/>
                <a:cs typeface="Segoe UI" pitchFamily="34" charset="0"/>
              </a:rPr>
              <a:t>Class</a:t>
            </a:r>
          </a:p>
        </p:txBody>
      </p:sp>
      <p:sp>
        <p:nvSpPr>
          <p:cNvPr id="12" name="TextBox 11"/>
          <p:cNvSpPr txBox="1"/>
          <p:nvPr/>
        </p:nvSpPr>
        <p:spPr>
          <a:xfrm>
            <a:off x="9717205" y="2333284"/>
            <a:ext cx="2500009" cy="764275"/>
          </a:xfrm>
          <a:prstGeom prst="rect">
            <a:avLst/>
          </a:prstGeom>
        </p:spPr>
        <p:txBody>
          <a:bodyPr vert="horz" wrap="none" lIns="91440" tIns="91440" rIns="91440" bIns="9144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tx1">
                    <a:lumMod val="50000"/>
                  </a:schemeClr>
                </a:solidFill>
                <a:effectLst/>
                <a:uLnTx/>
                <a:uFillTx/>
                <a:latin typeface="Segoe UI" pitchFamily="34" charset="0"/>
                <a:ea typeface="Segoe UI" pitchFamily="34" charset="0"/>
                <a:cs typeface="Segoe UI" pitchFamily="34" charset="0"/>
              </a:rPr>
              <a:t>Self-Study</a:t>
            </a:r>
          </a:p>
        </p:txBody>
      </p:sp>
      <p:sp>
        <p:nvSpPr>
          <p:cNvPr id="13" name="TextBox 12"/>
          <p:cNvSpPr txBox="1"/>
          <p:nvPr/>
        </p:nvSpPr>
        <p:spPr>
          <a:xfrm>
            <a:off x="9717205" y="4833104"/>
            <a:ext cx="2500009" cy="764275"/>
          </a:xfrm>
          <a:prstGeom prst="rect">
            <a:avLst/>
          </a:prstGeom>
        </p:spPr>
        <p:txBody>
          <a:bodyPr vert="horz" wrap="none" lIns="91440" tIns="91440" rIns="91440" bIns="9144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00B050"/>
                </a:solidFill>
                <a:effectLst/>
                <a:uLnTx/>
                <a:uFillTx/>
                <a:latin typeface="Segoe UI" pitchFamily="34" charset="0"/>
                <a:ea typeface="Segoe UI" pitchFamily="34" charset="0"/>
                <a:cs typeface="Segoe UI" pitchFamily="34" charset="0"/>
              </a:rPr>
              <a:t>Projects</a:t>
            </a:r>
          </a:p>
        </p:txBody>
      </p:sp>
    </p:spTree>
    <p:extLst>
      <p:ext uri="{BB962C8B-B14F-4D97-AF65-F5344CB8AC3E}">
        <p14:creationId xmlns:p14="http://schemas.microsoft.com/office/powerpoint/2010/main" val="12024379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0-#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additive="base">
                                        <p:cTn id="17" dur="500" fill="hold"/>
                                        <p:tgtEl>
                                          <p:spTgt spid="12"/>
                                        </p:tgtEl>
                                        <p:attrNameLst>
                                          <p:attrName>ppt_x</p:attrName>
                                        </p:attrNameLst>
                                      </p:cBhvr>
                                      <p:tavLst>
                                        <p:tav tm="0">
                                          <p:val>
                                            <p:strVal val="0-#ppt_w/2"/>
                                          </p:val>
                                        </p:tav>
                                        <p:tav tm="100000">
                                          <p:val>
                                            <p:strVal val="#ppt_x"/>
                                          </p:val>
                                        </p:tav>
                                      </p:tavLst>
                                    </p:anim>
                                    <p:anim calcmode="lin" valueType="num">
                                      <p:cBhvr additive="base">
                                        <p:cTn id="18" dur="500" fill="hold"/>
                                        <p:tgtEl>
                                          <p:spTgt spid="12"/>
                                        </p:tgtEl>
                                        <p:attrNameLst>
                                          <p:attrName>ppt_y</p:attrName>
                                        </p:attrNameLst>
                                      </p:cBhvr>
                                      <p:tavLst>
                                        <p:tav tm="0">
                                          <p:val>
                                            <p:strVal val="#ppt_y"/>
                                          </p:val>
                                        </p:tav>
                                        <p:tav tm="100000">
                                          <p:val>
                                            <p:strVal val="#ppt_y"/>
                                          </p:val>
                                        </p:tav>
                                      </p:tavLst>
                                    </p:anim>
                                  </p:childTnLst>
                                </p:cTn>
                              </p:par>
                              <p:par>
                                <p:cTn id="19" presetID="2" presetClass="entr" presetSubtype="8"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0-#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0"/>
            <a:ext cx="12436475" cy="1162594"/>
          </a:xfrm>
        </p:spPr>
        <p:txBody>
          <a:bodyPr vert="horz" wrap="square" lIns="146304" tIns="91440" rIns="146304" bIns="91440" rtlCol="0" anchor="t">
            <a:noAutofit/>
          </a:bodyPr>
          <a:lstStyle/>
          <a:p>
            <a:r>
              <a:rPr lang="en-US" dirty="0">
                <a:solidFill>
                  <a:schemeClr val="tx1"/>
                </a:solidFill>
              </a:rPr>
              <a:t>Understanding Microsoft Business Analytics &amp; AI</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04256657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12436475" cy="846161"/>
          </a:xfrm>
        </p:spPr>
        <p:txBody>
          <a:bodyPr vert="horz" wrap="square" lIns="146304" tIns="91440" rIns="146304" bIns="91440" rtlCol="0" anchor="t">
            <a:noAutofit/>
          </a:bodyPr>
          <a:lstStyle/>
          <a:p>
            <a:r>
              <a:rPr lang="en-US" dirty="0">
                <a:solidFill>
                  <a:schemeClr val="tx1"/>
                </a:solidFill>
              </a:rPr>
              <a:t>Microsoft Business Analytics and AI in a Sentence:</a:t>
            </a:r>
          </a:p>
        </p:txBody>
      </p:sp>
      <p:sp>
        <p:nvSpPr>
          <p:cNvPr id="3" name="Rectangle 2"/>
          <p:cNvSpPr/>
          <p:nvPr/>
        </p:nvSpPr>
        <p:spPr>
          <a:xfrm>
            <a:off x="1354667" y="2258774"/>
            <a:ext cx="9919688" cy="3046988"/>
          </a:xfrm>
          <a:prstGeom prst="rect">
            <a:avLst/>
          </a:prstGeom>
        </p:spPr>
        <p:txBody>
          <a:bodyPr wrap="square">
            <a:spAutoFit/>
          </a:bodyPr>
          <a:lstStyle/>
          <a:p>
            <a:pPr lvl="0" defTabSz="914400">
              <a:defRPr/>
            </a:pPr>
            <a:r>
              <a:rPr lang="en-US" sz="4800" kern="0" dirty="0">
                <a:solidFill>
                  <a:srgbClr val="002864"/>
                </a:solidFill>
                <a:cs typeface="Times New Roman" panose="02020603050405020304" pitchFamily="18" charset="0"/>
              </a:rPr>
              <a:t>Microsoft Business Analytics and AI </a:t>
            </a: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is a </a:t>
            </a:r>
            <a:r>
              <a:rPr kumimoji="0" lang="en-US" sz="4800" b="0" i="0" u="none" strike="noStrike" kern="0" cap="none" spc="0" normalizeH="0" baseline="0" noProof="0" dirty="0">
                <a:ln>
                  <a:noFill/>
                </a:ln>
                <a:solidFill>
                  <a:srgbClr val="00B050"/>
                </a:solidFill>
                <a:effectLst/>
                <a:uLnTx/>
                <a:uFillTx/>
                <a:cs typeface="Times New Roman" panose="02020603050405020304" pitchFamily="18" charset="0"/>
              </a:rPr>
              <a:t>Platform</a:t>
            </a: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 and a </a:t>
            </a:r>
            <a:r>
              <a:rPr kumimoji="0" lang="en-US" sz="4800" b="0" i="0" u="none" strike="noStrike" kern="0" cap="none" spc="0" normalizeH="0" baseline="0" noProof="0" dirty="0">
                <a:ln>
                  <a:noFill/>
                </a:ln>
                <a:solidFill>
                  <a:srgbClr val="00B050"/>
                </a:solidFill>
                <a:effectLst/>
                <a:uLnTx/>
                <a:uFillTx/>
                <a:cs typeface="Times New Roman" panose="02020603050405020304" pitchFamily="18" charset="0"/>
              </a:rPr>
              <a:t>Process</a:t>
            </a: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 to perform advanced analytics from start to finish</a:t>
            </a:r>
            <a:endParaRPr kumimoji="0" lang="en-US" sz="48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144531865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3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rtana%20Analytics_v1</Template>
  <TotalTime>0</TotalTime>
  <Words>2942</Words>
  <Application>Microsoft Office PowerPoint</Application>
  <PresentationFormat>Custom</PresentationFormat>
  <Paragraphs>339</Paragraphs>
  <Slides>24</Slides>
  <Notes>24</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24</vt:i4>
      </vt:variant>
    </vt:vector>
  </HeadingPairs>
  <TitlesOfParts>
    <vt:vector size="37" baseType="lpstr">
      <vt:lpstr>MS PGothic</vt:lpstr>
      <vt:lpstr>SimSun</vt:lpstr>
      <vt:lpstr>Arial</vt:lpstr>
      <vt:lpstr>Calibri</vt:lpstr>
      <vt:lpstr>Segoe UI</vt:lpstr>
      <vt:lpstr>Segoe UI Light</vt:lpstr>
      <vt:lpstr>Times New Roman</vt:lpstr>
      <vt:lpstr>Wingdings</vt:lpstr>
      <vt:lpstr>FY15 Enterprise identity theme</vt:lpstr>
      <vt:lpstr>1_WHITE TEMPLATE</vt:lpstr>
      <vt:lpstr>2_WHITE TEMPLATE</vt:lpstr>
      <vt:lpstr>3_WHITE TEMPLATE</vt:lpstr>
      <vt:lpstr>think-cell Slide</vt:lpstr>
      <vt:lpstr>PowerPoint Presentation</vt:lpstr>
      <vt:lpstr>PowerPoint Presentation</vt:lpstr>
      <vt:lpstr>Welcome!</vt:lpstr>
      <vt:lpstr>Introduction</vt:lpstr>
      <vt:lpstr>Lab:</vt:lpstr>
      <vt:lpstr>PowerPoint Presentation</vt:lpstr>
      <vt:lpstr>PowerPoint Presentation</vt:lpstr>
      <vt:lpstr>Understanding Microsoft Business Analytics &amp; AI</vt:lpstr>
      <vt:lpstr>Microsoft Business Analytics and AI in a Sentence:</vt:lpstr>
      <vt:lpstr>The Data Science Process and Platform</vt:lpstr>
      <vt:lpstr>The Team Data Science Process </vt:lpstr>
      <vt:lpstr>The Azure Platform for Analytics and AI</vt:lpstr>
      <vt:lpstr>DevOps for Data Science</vt:lpstr>
      <vt:lpstr>Azure DevOps for Advanced Analytics</vt:lpstr>
      <vt:lpstr>Lab:</vt:lpstr>
      <vt:lpstr>Setting up Your Development Environment</vt:lpstr>
      <vt:lpstr>Primary Development Tools:</vt:lpstr>
      <vt:lpstr>Azure Storage for Advanced Analytics</vt:lpstr>
      <vt:lpstr>Storage Architecture</vt:lpstr>
      <vt:lpstr>Storage Scenarios</vt:lpstr>
      <vt:lpstr>PowerPoint Presentation</vt:lpstr>
      <vt:lpstr>PowerPoint Presentation</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11-27T02:00:30Z</dcterms:created>
  <dcterms:modified xsi:type="dcterms:W3CDTF">2017-09-08T21:07: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SetBy">
    <vt:lpwstr>bwoody@microsoft.com</vt:lpwstr>
  </property>
  <property fmtid="{D5CDD505-2E9C-101B-9397-08002B2CF9AE}" pid="6" name="MSIP_Label_f42aa342-8706-4288-bd11-ebb85995028c_SetDate">
    <vt:lpwstr>2017-05-23T07:39:08.5175870-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